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3" r:id="rId4"/>
    <p:sldMasterId id="2147483742" r:id="rId5"/>
    <p:sldMasterId id="2147483746" r:id="rId6"/>
    <p:sldMasterId id="2147483761" r:id="rId7"/>
  </p:sldMasterIdLst>
  <p:notesMasterIdLst>
    <p:notesMasterId r:id="rId23"/>
  </p:notesMasterIdLst>
  <p:handoutMasterIdLst>
    <p:handoutMasterId r:id="rId24"/>
  </p:handoutMasterIdLst>
  <p:sldIdLst>
    <p:sldId id="297" r:id="rId8"/>
    <p:sldId id="2147472290" r:id="rId9"/>
    <p:sldId id="2147472293" r:id="rId10"/>
    <p:sldId id="298" r:id="rId11"/>
    <p:sldId id="2147471870" r:id="rId12"/>
    <p:sldId id="2147472291" r:id="rId13"/>
    <p:sldId id="2147472260" r:id="rId14"/>
    <p:sldId id="2147472286" r:id="rId15"/>
    <p:sldId id="2147471785" r:id="rId16"/>
    <p:sldId id="935" r:id="rId17"/>
    <p:sldId id="2147472288" r:id="rId18"/>
    <p:sldId id="2147471789" r:id="rId19"/>
    <p:sldId id="2147472289" r:id="rId20"/>
    <p:sldId id="2147472287" r:id="rId21"/>
    <p:sldId id="2147471790" r:id="rId22"/>
  </p:sldIdLst>
  <p:sldSz cx="12169775" cy="6858000"/>
  <p:notesSz cx="6797675" cy="9928225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40" userDrawn="1">
          <p15:clr>
            <a:srgbClr val="A4A3A4"/>
          </p15:clr>
        </p15:guide>
        <p15:guide id="2" pos="930" userDrawn="1">
          <p15:clr>
            <a:srgbClr val="A4A3A4"/>
          </p15:clr>
        </p15:guide>
        <p15:guide id="3" pos="817" userDrawn="1">
          <p15:clr>
            <a:srgbClr val="A4A3A4"/>
          </p15:clr>
        </p15:guide>
        <p15:guide id="4" pos="1406" userDrawn="1">
          <p15:clr>
            <a:srgbClr val="A4A3A4"/>
          </p15:clr>
        </p15:guide>
        <p15:guide id="5" pos="1520" userDrawn="1">
          <p15:clr>
            <a:srgbClr val="A4A3A4"/>
          </p15:clr>
        </p15:guide>
        <p15:guide id="7" pos="2117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9" pos="2699" userDrawn="1">
          <p15:clr>
            <a:srgbClr val="A4A3A4"/>
          </p15:clr>
        </p15:guide>
        <p15:guide id="10" pos="3185" userDrawn="1">
          <p15:clr>
            <a:srgbClr val="A4A3A4"/>
          </p15:clr>
        </p15:guide>
        <p15:guide id="11" pos="3299" userDrawn="1">
          <p15:clr>
            <a:srgbClr val="A4A3A4"/>
          </p15:clr>
        </p15:guide>
        <p15:guide id="14" pos="4368" userDrawn="1">
          <p15:clr>
            <a:srgbClr val="A4A3A4"/>
          </p15:clr>
        </p15:guide>
        <p15:guide id="17" pos="5080" userDrawn="1">
          <p15:clr>
            <a:srgbClr val="A4A3A4"/>
          </p15:clr>
        </p15:guide>
        <p15:guide id="18" pos="5552" userDrawn="1">
          <p15:clr>
            <a:srgbClr val="A4A3A4"/>
          </p15:clr>
        </p15:guide>
        <p15:guide id="19" pos="5647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2" pos="6734" userDrawn="1">
          <p15:clr>
            <a:srgbClr val="A4A3A4"/>
          </p15:clr>
        </p15:guide>
        <p15:guide id="23" pos="6846" userDrawn="1">
          <p15:clr>
            <a:srgbClr val="A4A3A4"/>
          </p15:clr>
        </p15:guide>
        <p15:guide id="24" pos="7326" userDrawn="1">
          <p15:clr>
            <a:srgbClr val="A4A3A4"/>
          </p15:clr>
        </p15:guide>
        <p15:guide id="25" orient="horz" pos="3902" userDrawn="1">
          <p15:clr>
            <a:srgbClr val="A4A3A4"/>
          </p15:clr>
        </p15:guide>
        <p15:guide id="26" orient="horz" pos="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h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6602"/>
    <a:srgbClr val="FFFFFF"/>
    <a:srgbClr val="009999"/>
    <a:srgbClr val="679A79"/>
    <a:srgbClr val="FFF3BF"/>
    <a:srgbClr val="FF9900"/>
    <a:srgbClr val="00A9E0"/>
    <a:srgbClr val="80C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7A4BC0-FFAD-4306-83F3-C1A4DA1D98C1}" v="2" dt="2023-09-16T08:37:06.759"/>
    <p1510:client id="{302D4F8F-D4B9-4478-4CD5-30DD28124C51}" v="173" dt="2023-09-16T06:05:10.412"/>
    <p1510:client id="{728406C6-4017-8206-E378-A5271A7AAD8E}" v="29" dt="2023-09-16T06:10:48.115"/>
    <p1510:client id="{E72C55B2-04A2-4C46-9AFB-B5D55028D8C2}" v="81" dt="2023-09-15T12:07:48.386"/>
    <p1510:client id="{F25A1133-E946-C9D6-111D-92966143C961}" v="198" dt="2023-09-16T05:50:04.908"/>
    <p1510:client id="{FB8E8E8A-64A9-4E7F-AB55-5A4568B37FD2}" v="38" dt="2023-09-16T09:32:08.929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80" autoAdjust="0"/>
    <p:restoredTop sz="95778" autoAdjust="0"/>
  </p:normalViewPr>
  <p:slideViewPr>
    <p:cSldViewPr snapToObjects="1" showGuides="1">
      <p:cViewPr varScale="1">
        <p:scale>
          <a:sx n="82" d="100"/>
          <a:sy n="82" d="100"/>
        </p:scale>
        <p:origin x="562" y="235"/>
      </p:cViewPr>
      <p:guideLst>
        <p:guide pos="340"/>
        <p:guide pos="930"/>
        <p:guide pos="817"/>
        <p:guide pos="1406"/>
        <p:guide pos="1520"/>
        <p:guide pos="2117"/>
        <p:guide pos="2592"/>
        <p:guide pos="2699"/>
        <p:guide pos="3185"/>
        <p:guide pos="3299"/>
        <p:guide pos="4368"/>
        <p:guide pos="5080"/>
        <p:guide pos="5552"/>
        <p:guide pos="5647"/>
        <p:guide pos="6143"/>
        <p:guide pos="6734"/>
        <p:guide pos="6846"/>
        <p:guide pos="7326"/>
        <p:guide orient="horz" pos="3902"/>
        <p:guide orient="horz" pos="6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3768" y="9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7F8BB0-D28B-4AEA-BE5B-A143FBBF194C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B8A514E8-43AB-4CA9-A39F-22B8AB1EE71C}">
      <dgm:prSet/>
      <dgm:spPr/>
      <dgm:t>
        <a:bodyPr/>
        <a:lstStyle/>
        <a:p>
          <a:r>
            <a:rPr lang="en-US" b="1"/>
            <a:t>Hardware Changes</a:t>
          </a:r>
          <a:endParaRPr lang="en-US"/>
        </a:p>
      </dgm:t>
    </dgm:pt>
    <dgm:pt modelId="{F0D89DC2-134D-4565-9FE7-BF4C3C8CD154}" type="parTrans" cxnId="{37B044EF-8EE0-4B20-8E85-77DECCB90F84}">
      <dgm:prSet/>
      <dgm:spPr/>
      <dgm:t>
        <a:bodyPr/>
        <a:lstStyle/>
        <a:p>
          <a:endParaRPr lang="en-US"/>
        </a:p>
      </dgm:t>
    </dgm:pt>
    <dgm:pt modelId="{0F9CCCF1-5D92-438E-AD3F-D12A99515845}" type="sibTrans" cxnId="{37B044EF-8EE0-4B20-8E85-77DECCB90F84}">
      <dgm:prSet/>
      <dgm:spPr/>
      <dgm:t>
        <a:bodyPr/>
        <a:lstStyle/>
        <a:p>
          <a:endParaRPr lang="en-US"/>
        </a:p>
      </dgm:t>
    </dgm:pt>
    <dgm:pt modelId="{94405ECC-3CA4-40B4-86FF-0E01407A170D}">
      <dgm:prSet/>
      <dgm:spPr/>
      <dgm:t>
        <a:bodyPr/>
        <a:lstStyle/>
        <a:p>
          <a:r>
            <a:rPr lang="en-US" b="1"/>
            <a:t>Software Changes</a:t>
          </a:r>
          <a:endParaRPr lang="en-US"/>
        </a:p>
      </dgm:t>
    </dgm:pt>
    <dgm:pt modelId="{89CEB29D-FFE2-4F32-9BCA-738F140DB79F}" type="parTrans" cxnId="{443FC7B6-FA67-4F12-8D9A-CA522ECD3D8B}">
      <dgm:prSet/>
      <dgm:spPr/>
      <dgm:t>
        <a:bodyPr/>
        <a:lstStyle/>
        <a:p>
          <a:endParaRPr lang="en-US"/>
        </a:p>
      </dgm:t>
    </dgm:pt>
    <dgm:pt modelId="{6FC2663A-0C75-40EB-9D98-F973D851B04A}" type="sibTrans" cxnId="{443FC7B6-FA67-4F12-8D9A-CA522ECD3D8B}">
      <dgm:prSet/>
      <dgm:spPr/>
      <dgm:t>
        <a:bodyPr/>
        <a:lstStyle/>
        <a:p>
          <a:endParaRPr lang="en-US"/>
        </a:p>
      </dgm:t>
    </dgm:pt>
    <dgm:pt modelId="{369797BB-75DB-4F6E-BDA6-DA0673EE92DD}" type="pres">
      <dgm:prSet presAssocID="{E87F8BB0-D28B-4AEA-BE5B-A143FBBF194C}" presName="CompostProcess" presStyleCnt="0">
        <dgm:presLayoutVars>
          <dgm:dir/>
          <dgm:resizeHandles val="exact"/>
        </dgm:presLayoutVars>
      </dgm:prSet>
      <dgm:spPr/>
    </dgm:pt>
    <dgm:pt modelId="{6E4A657D-45B8-473E-B6CD-398F9979C049}" type="pres">
      <dgm:prSet presAssocID="{E87F8BB0-D28B-4AEA-BE5B-A143FBBF194C}" presName="arrow" presStyleLbl="bgShp" presStyleIdx="0" presStyleCnt="1"/>
      <dgm:spPr/>
    </dgm:pt>
    <dgm:pt modelId="{CEDE091F-4EB2-42E8-A1CE-234689F87F3F}" type="pres">
      <dgm:prSet presAssocID="{E87F8BB0-D28B-4AEA-BE5B-A143FBBF194C}" presName="linearProcess" presStyleCnt="0"/>
      <dgm:spPr/>
    </dgm:pt>
    <dgm:pt modelId="{3E4D08D0-73AE-4409-BF9A-425BA32177B2}" type="pres">
      <dgm:prSet presAssocID="{B8A514E8-43AB-4CA9-A39F-22B8AB1EE71C}" presName="textNode" presStyleLbl="node1" presStyleIdx="0" presStyleCnt="2">
        <dgm:presLayoutVars>
          <dgm:bulletEnabled val="1"/>
        </dgm:presLayoutVars>
      </dgm:prSet>
      <dgm:spPr/>
    </dgm:pt>
    <dgm:pt modelId="{5483431A-B927-4C91-9FF5-DAC376FB9EAE}" type="pres">
      <dgm:prSet presAssocID="{0F9CCCF1-5D92-438E-AD3F-D12A99515845}" presName="sibTrans" presStyleCnt="0"/>
      <dgm:spPr/>
    </dgm:pt>
    <dgm:pt modelId="{E98F8A48-D38A-43DE-B154-904E99C84721}" type="pres">
      <dgm:prSet presAssocID="{94405ECC-3CA4-40B4-86FF-0E01407A170D}" presName="textNode" presStyleLbl="node1" presStyleIdx="1" presStyleCnt="2">
        <dgm:presLayoutVars>
          <dgm:bulletEnabled val="1"/>
        </dgm:presLayoutVars>
      </dgm:prSet>
      <dgm:spPr/>
    </dgm:pt>
  </dgm:ptLst>
  <dgm:cxnLst>
    <dgm:cxn modelId="{2E297354-8DCD-43D6-8C44-4641299EDB3A}" type="presOf" srcId="{B8A514E8-43AB-4CA9-A39F-22B8AB1EE71C}" destId="{3E4D08D0-73AE-4409-BF9A-425BA32177B2}" srcOrd="0" destOrd="0" presId="urn:microsoft.com/office/officeart/2005/8/layout/hProcess9"/>
    <dgm:cxn modelId="{012787A2-132A-4AEC-8400-3DBA14407D74}" type="presOf" srcId="{94405ECC-3CA4-40B4-86FF-0E01407A170D}" destId="{E98F8A48-D38A-43DE-B154-904E99C84721}" srcOrd="0" destOrd="0" presId="urn:microsoft.com/office/officeart/2005/8/layout/hProcess9"/>
    <dgm:cxn modelId="{443FC7B6-FA67-4F12-8D9A-CA522ECD3D8B}" srcId="{E87F8BB0-D28B-4AEA-BE5B-A143FBBF194C}" destId="{94405ECC-3CA4-40B4-86FF-0E01407A170D}" srcOrd="1" destOrd="0" parTransId="{89CEB29D-FFE2-4F32-9BCA-738F140DB79F}" sibTransId="{6FC2663A-0C75-40EB-9D98-F973D851B04A}"/>
    <dgm:cxn modelId="{948D7EC8-EC37-4466-B135-46350B3C211B}" type="presOf" srcId="{E87F8BB0-D28B-4AEA-BE5B-A143FBBF194C}" destId="{369797BB-75DB-4F6E-BDA6-DA0673EE92DD}" srcOrd="0" destOrd="0" presId="urn:microsoft.com/office/officeart/2005/8/layout/hProcess9"/>
    <dgm:cxn modelId="{37B044EF-8EE0-4B20-8E85-77DECCB90F84}" srcId="{E87F8BB0-D28B-4AEA-BE5B-A143FBBF194C}" destId="{B8A514E8-43AB-4CA9-A39F-22B8AB1EE71C}" srcOrd="0" destOrd="0" parTransId="{F0D89DC2-134D-4565-9FE7-BF4C3C8CD154}" sibTransId="{0F9CCCF1-5D92-438E-AD3F-D12A99515845}"/>
    <dgm:cxn modelId="{12CB0EE5-FB0C-41F6-8EA6-29E01A19BABD}" type="presParOf" srcId="{369797BB-75DB-4F6E-BDA6-DA0673EE92DD}" destId="{6E4A657D-45B8-473E-B6CD-398F9979C049}" srcOrd="0" destOrd="0" presId="urn:microsoft.com/office/officeart/2005/8/layout/hProcess9"/>
    <dgm:cxn modelId="{23AFD6A6-426E-4DCF-B8FA-B42A1D59D59F}" type="presParOf" srcId="{369797BB-75DB-4F6E-BDA6-DA0673EE92DD}" destId="{CEDE091F-4EB2-42E8-A1CE-234689F87F3F}" srcOrd="1" destOrd="0" presId="urn:microsoft.com/office/officeart/2005/8/layout/hProcess9"/>
    <dgm:cxn modelId="{4657F0AC-AE6E-4B08-9CD4-CCE6788C7FE6}" type="presParOf" srcId="{CEDE091F-4EB2-42E8-A1CE-234689F87F3F}" destId="{3E4D08D0-73AE-4409-BF9A-425BA32177B2}" srcOrd="0" destOrd="0" presId="urn:microsoft.com/office/officeart/2005/8/layout/hProcess9"/>
    <dgm:cxn modelId="{1910D7DF-F299-4739-8876-4DF781711B74}" type="presParOf" srcId="{CEDE091F-4EB2-42E8-A1CE-234689F87F3F}" destId="{5483431A-B927-4C91-9FF5-DAC376FB9EAE}" srcOrd="1" destOrd="0" presId="urn:microsoft.com/office/officeart/2005/8/layout/hProcess9"/>
    <dgm:cxn modelId="{4381750B-F006-4637-8A28-0708EEBED74D}" type="presParOf" srcId="{CEDE091F-4EB2-42E8-A1CE-234689F87F3F}" destId="{E98F8A48-D38A-43DE-B154-904E99C84721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84AD79-1ED6-41EB-809C-F519E1FAAB1C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6DCF57B-D0BD-47C2-A1F0-FD12F415697B}">
      <dgm:prSet/>
      <dgm:spPr/>
      <dgm:t>
        <a:bodyPr/>
        <a:lstStyle/>
        <a:p>
          <a:r>
            <a:rPr lang="en-US" b="1"/>
            <a:t>Handling critical maintenance records</a:t>
          </a:r>
          <a:endParaRPr lang="en-US"/>
        </a:p>
      </dgm:t>
    </dgm:pt>
    <dgm:pt modelId="{9B90635B-6650-4CA1-BFEC-41F8C6BBE742}" type="parTrans" cxnId="{D5F41D3D-7DB3-4F12-B3B0-D64B9D9331A9}">
      <dgm:prSet/>
      <dgm:spPr/>
      <dgm:t>
        <a:bodyPr/>
        <a:lstStyle/>
        <a:p>
          <a:endParaRPr lang="en-US"/>
        </a:p>
      </dgm:t>
    </dgm:pt>
    <dgm:pt modelId="{97CEC329-BC05-45E9-B661-2A122575615A}" type="sibTrans" cxnId="{D5F41D3D-7DB3-4F12-B3B0-D64B9D9331A9}">
      <dgm:prSet/>
      <dgm:spPr/>
      <dgm:t>
        <a:bodyPr/>
        <a:lstStyle/>
        <a:p>
          <a:endParaRPr lang="en-US"/>
        </a:p>
      </dgm:t>
    </dgm:pt>
    <dgm:pt modelId="{6D748F53-2C20-433C-8567-FD2CDB52E5C8}">
      <dgm:prSet/>
      <dgm:spPr/>
      <dgm:t>
        <a:bodyPr/>
        <a:lstStyle/>
        <a:p>
          <a:r>
            <a:rPr lang="en-US" b="1"/>
            <a:t>Lab internal communications (Between shifts)</a:t>
          </a:r>
          <a:endParaRPr lang="en-US"/>
        </a:p>
      </dgm:t>
    </dgm:pt>
    <dgm:pt modelId="{ACD11BEC-DFBF-4777-8D10-A17FDC1C4AF9}" type="parTrans" cxnId="{C415E367-D867-414A-B575-B78CC2F6F6FC}">
      <dgm:prSet/>
      <dgm:spPr/>
      <dgm:t>
        <a:bodyPr/>
        <a:lstStyle/>
        <a:p>
          <a:endParaRPr lang="en-US"/>
        </a:p>
      </dgm:t>
    </dgm:pt>
    <dgm:pt modelId="{C0170B1D-9B21-4C28-9AC4-B197458C0E45}" type="sibTrans" cxnId="{C415E367-D867-414A-B575-B78CC2F6F6FC}">
      <dgm:prSet/>
      <dgm:spPr/>
      <dgm:t>
        <a:bodyPr/>
        <a:lstStyle/>
        <a:p>
          <a:endParaRPr lang="en-US"/>
        </a:p>
      </dgm:t>
    </dgm:pt>
    <dgm:pt modelId="{A93DDDB3-ABAD-4EA0-A5D5-BAF824C05488}" type="pres">
      <dgm:prSet presAssocID="{6C84AD79-1ED6-41EB-809C-F519E1FAAB1C}" presName="CompostProcess" presStyleCnt="0">
        <dgm:presLayoutVars>
          <dgm:dir/>
          <dgm:resizeHandles val="exact"/>
        </dgm:presLayoutVars>
      </dgm:prSet>
      <dgm:spPr/>
    </dgm:pt>
    <dgm:pt modelId="{E221B45B-6704-4FDE-BD16-FFBE9CBB8E79}" type="pres">
      <dgm:prSet presAssocID="{6C84AD79-1ED6-41EB-809C-F519E1FAAB1C}" presName="arrow" presStyleLbl="bgShp" presStyleIdx="0" presStyleCnt="1"/>
      <dgm:spPr/>
    </dgm:pt>
    <dgm:pt modelId="{4717DBE4-DC41-4024-8003-9A7EB3DF4909}" type="pres">
      <dgm:prSet presAssocID="{6C84AD79-1ED6-41EB-809C-F519E1FAAB1C}" presName="linearProcess" presStyleCnt="0"/>
      <dgm:spPr/>
    </dgm:pt>
    <dgm:pt modelId="{871B37A8-3ACC-415C-9452-3F3F5ED89BD1}" type="pres">
      <dgm:prSet presAssocID="{E6DCF57B-D0BD-47C2-A1F0-FD12F415697B}" presName="textNode" presStyleLbl="node1" presStyleIdx="0" presStyleCnt="2">
        <dgm:presLayoutVars>
          <dgm:bulletEnabled val="1"/>
        </dgm:presLayoutVars>
      </dgm:prSet>
      <dgm:spPr/>
    </dgm:pt>
    <dgm:pt modelId="{7523D1A5-5549-4791-89F3-84679A3C1B39}" type="pres">
      <dgm:prSet presAssocID="{97CEC329-BC05-45E9-B661-2A122575615A}" presName="sibTrans" presStyleCnt="0"/>
      <dgm:spPr/>
    </dgm:pt>
    <dgm:pt modelId="{DCD43C11-5484-4FFD-93DC-A8FEBF21EDBA}" type="pres">
      <dgm:prSet presAssocID="{6D748F53-2C20-433C-8567-FD2CDB52E5C8}" presName="textNode" presStyleLbl="node1" presStyleIdx="1" presStyleCnt="2">
        <dgm:presLayoutVars>
          <dgm:bulletEnabled val="1"/>
        </dgm:presLayoutVars>
      </dgm:prSet>
      <dgm:spPr/>
    </dgm:pt>
  </dgm:ptLst>
  <dgm:cxnLst>
    <dgm:cxn modelId="{D5F41D3D-7DB3-4F12-B3B0-D64B9D9331A9}" srcId="{6C84AD79-1ED6-41EB-809C-F519E1FAAB1C}" destId="{E6DCF57B-D0BD-47C2-A1F0-FD12F415697B}" srcOrd="0" destOrd="0" parTransId="{9B90635B-6650-4CA1-BFEC-41F8C6BBE742}" sibTransId="{97CEC329-BC05-45E9-B661-2A122575615A}"/>
    <dgm:cxn modelId="{C415E367-D867-414A-B575-B78CC2F6F6FC}" srcId="{6C84AD79-1ED6-41EB-809C-F519E1FAAB1C}" destId="{6D748F53-2C20-433C-8567-FD2CDB52E5C8}" srcOrd="1" destOrd="0" parTransId="{ACD11BEC-DFBF-4777-8D10-A17FDC1C4AF9}" sibTransId="{C0170B1D-9B21-4C28-9AC4-B197458C0E45}"/>
    <dgm:cxn modelId="{CE0F927B-D27F-413A-9247-DC44F37752EB}" type="presOf" srcId="{E6DCF57B-D0BD-47C2-A1F0-FD12F415697B}" destId="{871B37A8-3ACC-415C-9452-3F3F5ED89BD1}" srcOrd="0" destOrd="0" presId="urn:microsoft.com/office/officeart/2005/8/layout/hProcess9"/>
    <dgm:cxn modelId="{98515ED4-DFE2-4B4A-A406-D1F05CA6FFD7}" type="presOf" srcId="{6C84AD79-1ED6-41EB-809C-F519E1FAAB1C}" destId="{A93DDDB3-ABAD-4EA0-A5D5-BAF824C05488}" srcOrd="0" destOrd="0" presId="urn:microsoft.com/office/officeart/2005/8/layout/hProcess9"/>
    <dgm:cxn modelId="{28DD26F5-A5F9-4DB9-A189-FDEB89D05722}" type="presOf" srcId="{6D748F53-2C20-433C-8567-FD2CDB52E5C8}" destId="{DCD43C11-5484-4FFD-93DC-A8FEBF21EDBA}" srcOrd="0" destOrd="0" presId="urn:microsoft.com/office/officeart/2005/8/layout/hProcess9"/>
    <dgm:cxn modelId="{BB85F2FB-B689-47B3-9D94-7A27C2BA729E}" type="presParOf" srcId="{A93DDDB3-ABAD-4EA0-A5D5-BAF824C05488}" destId="{E221B45B-6704-4FDE-BD16-FFBE9CBB8E79}" srcOrd="0" destOrd="0" presId="urn:microsoft.com/office/officeart/2005/8/layout/hProcess9"/>
    <dgm:cxn modelId="{1BE59E64-B463-48BD-BF0D-D45142505156}" type="presParOf" srcId="{A93DDDB3-ABAD-4EA0-A5D5-BAF824C05488}" destId="{4717DBE4-DC41-4024-8003-9A7EB3DF4909}" srcOrd="1" destOrd="0" presId="urn:microsoft.com/office/officeart/2005/8/layout/hProcess9"/>
    <dgm:cxn modelId="{0440C267-BB96-4507-A496-6A250CA5B24D}" type="presParOf" srcId="{4717DBE4-DC41-4024-8003-9A7EB3DF4909}" destId="{871B37A8-3ACC-415C-9452-3F3F5ED89BD1}" srcOrd="0" destOrd="0" presId="urn:microsoft.com/office/officeart/2005/8/layout/hProcess9"/>
    <dgm:cxn modelId="{2B7B10CD-6CEA-4055-B9AF-7046940D378F}" type="presParOf" srcId="{4717DBE4-DC41-4024-8003-9A7EB3DF4909}" destId="{7523D1A5-5549-4791-89F3-84679A3C1B39}" srcOrd="1" destOrd="0" presId="urn:microsoft.com/office/officeart/2005/8/layout/hProcess9"/>
    <dgm:cxn modelId="{D8707ED1-E48B-4B49-8260-353A79B85C50}" type="presParOf" srcId="{4717DBE4-DC41-4024-8003-9A7EB3DF4909}" destId="{DCD43C11-5484-4FFD-93DC-A8FEBF21EDBA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4A657D-45B8-473E-B6CD-398F9979C049}">
      <dsp:nvSpPr>
        <dsp:cNvPr id="0" name=""/>
        <dsp:cNvSpPr/>
      </dsp:nvSpPr>
      <dsp:spPr>
        <a:xfrm>
          <a:off x="629169" y="0"/>
          <a:ext cx="7130592" cy="2484276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4D08D0-73AE-4409-BF9A-425BA32177B2}">
      <dsp:nvSpPr>
        <dsp:cNvPr id="0" name=""/>
        <dsp:cNvSpPr/>
      </dsp:nvSpPr>
      <dsp:spPr>
        <a:xfrm>
          <a:off x="1715" y="745282"/>
          <a:ext cx="4072528" cy="9937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b="1" kern="1200"/>
            <a:t>Hardware Changes</a:t>
          </a:r>
          <a:endParaRPr lang="en-US" sz="3700" kern="1200"/>
        </a:p>
      </dsp:txBody>
      <dsp:txXfrm>
        <a:off x="50224" y="793791"/>
        <a:ext cx="3975510" cy="896692"/>
      </dsp:txXfrm>
    </dsp:sp>
    <dsp:sp modelId="{E98F8A48-D38A-43DE-B154-904E99C84721}">
      <dsp:nvSpPr>
        <dsp:cNvPr id="0" name=""/>
        <dsp:cNvSpPr/>
      </dsp:nvSpPr>
      <dsp:spPr>
        <a:xfrm>
          <a:off x="4314688" y="745282"/>
          <a:ext cx="4072528" cy="9937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b="1" kern="1200"/>
            <a:t>Software Changes</a:t>
          </a:r>
          <a:endParaRPr lang="en-US" sz="3700" kern="1200"/>
        </a:p>
      </dsp:txBody>
      <dsp:txXfrm>
        <a:off x="4363197" y="793791"/>
        <a:ext cx="3975510" cy="8966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21B45B-6704-4FDE-BD16-FFBE9CBB8E79}">
      <dsp:nvSpPr>
        <dsp:cNvPr id="0" name=""/>
        <dsp:cNvSpPr/>
      </dsp:nvSpPr>
      <dsp:spPr>
        <a:xfrm>
          <a:off x="690929" y="0"/>
          <a:ext cx="7830540" cy="45720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1B37A8-3ACC-415C-9452-3F3F5ED89BD1}">
      <dsp:nvSpPr>
        <dsp:cNvPr id="0" name=""/>
        <dsp:cNvSpPr/>
      </dsp:nvSpPr>
      <dsp:spPr>
        <a:xfrm>
          <a:off x="1125572" y="1371599"/>
          <a:ext cx="3368283" cy="1828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1" kern="1200"/>
            <a:t>Handling critical maintenance records</a:t>
          </a:r>
          <a:endParaRPr lang="en-US" sz="3300" kern="1200"/>
        </a:p>
      </dsp:txBody>
      <dsp:txXfrm>
        <a:off x="1214847" y="1460874"/>
        <a:ext cx="3189733" cy="1650250"/>
      </dsp:txXfrm>
    </dsp:sp>
    <dsp:sp modelId="{DCD43C11-5484-4FFD-93DC-A8FEBF21EDBA}">
      <dsp:nvSpPr>
        <dsp:cNvPr id="0" name=""/>
        <dsp:cNvSpPr/>
      </dsp:nvSpPr>
      <dsp:spPr>
        <a:xfrm>
          <a:off x="4718543" y="1371599"/>
          <a:ext cx="3368283" cy="1828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1" kern="1200"/>
            <a:t>Lab internal communications (Between shifts)</a:t>
          </a:r>
          <a:endParaRPr lang="en-US" sz="3300" kern="1200"/>
        </a:p>
      </dsp:txBody>
      <dsp:txXfrm>
        <a:off x="4807818" y="1460874"/>
        <a:ext cx="3189733" cy="16502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497833" cy="49813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98271" y="0"/>
            <a:ext cx="2497833" cy="49813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5.09.202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3"/>
            <a:ext cx="2497833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298271" y="9430093"/>
            <a:ext cx="2497833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8700" y="107088"/>
            <a:ext cx="1498700" cy="391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497833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298271" y="0"/>
            <a:ext cx="2497833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4538"/>
            <a:ext cx="66040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497833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298271" y="9430091"/>
            <a:ext cx="2497833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700" y="107088"/>
            <a:ext cx="1498700" cy="391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2074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aseline="0" dirty="0"/>
              <a:t>Add the photos of your teammates</a:t>
            </a:r>
          </a:p>
          <a:p>
            <a:pPr marL="228600" indent="-228600">
              <a:buAutoNum type="arabicPeriod"/>
            </a:pPr>
            <a:r>
              <a:rPr lang="en-US" baseline="0" dirty="0"/>
              <a:t>Add the information of your teammates</a:t>
            </a:r>
          </a:p>
          <a:p>
            <a:pPr marL="228600" indent="-228600">
              <a:buAutoNum type="arabicPeriod"/>
            </a:pPr>
            <a:r>
              <a:rPr lang="en-US" baseline="0" dirty="0"/>
              <a:t>Add the role during Hackathon of each teammate (e.g.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r, Designer, Domain Expert, Project Manager…</a:t>
            </a:r>
            <a:r>
              <a:rPr lang="en-US" baseline="0" dirty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96943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de-DE" sz="1200" kern="1200" dirty="0">
              <a:solidFill>
                <a:schemeClr val="tx1"/>
              </a:solidFill>
              <a:effectLst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369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de-DE" sz="1200" kern="1200" dirty="0">
              <a:solidFill>
                <a:schemeClr val="tx1"/>
              </a:solidFill>
              <a:effectLst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C7309E-6B14-43E2-9D02-8D68126D84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4236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7.jpe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7.jpe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7.jpe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34400" y="-1"/>
            <a:ext cx="6933600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>
              <a:defRPr/>
            </a:lvl1pPr>
            <a:lvl2pPr>
              <a:defRPr/>
            </a:lvl2pPr>
          </a:lstStyle>
          <a:p>
            <a:r>
              <a:rPr lang="en-US" dirty="0"/>
              <a:t>Insert key visual or another title motive (please refer to the front level communication matrix). </a:t>
            </a:r>
            <a:r>
              <a:rPr lang="en-GB" dirty="0"/>
              <a:t>When using a key visual, please pay attention to the correct placement.</a:t>
            </a:r>
            <a:endParaRPr lang="en-US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031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599"/>
            <a:ext cx="4516188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79" y="4976328"/>
            <a:ext cx="2826000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marR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21</a:t>
            </a:r>
          </a:p>
        </p:txBody>
      </p: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ineers AG, 2023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37163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000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0187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Intro Title Picture 2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9D6B77C-942E-464F-8C07-7EF626E3CA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90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9D6B77C-942E-464F-8C07-7EF626E3C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Unschärfe enthält.&#10;&#10;Automatisch generierte Beschreibung">
            <a:extLst>
              <a:ext uri="{FF2B5EF4-FFF2-40B4-BE49-F238E27FC236}">
                <a16:creationId xmlns:a16="http://schemas.microsoft.com/office/drawing/2014/main" id="{94F86FA1-1997-4143-BED5-6760BEE6AA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4478" y="1619999"/>
            <a:ext cx="9895293" cy="5238001"/>
          </a:xfrm>
          <a:prstGeom prst="rect">
            <a:avLst/>
          </a:prstGeom>
        </p:spPr>
      </p:pic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Optional subhead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 5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GB" sz="1100" b="0">
                <a:solidFill>
                  <a:schemeClr val="tx1"/>
                </a:solidFill>
                <a:latin typeface="+mn-lt"/>
              </a:rPr>
            </a:br>
            <a:r>
              <a:rPr lang="en-GB" sz="1100" b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1930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93386-335E-36AA-196B-DCABFA873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3611D5-E032-40F9-80A6-164026D837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A43D54-D795-5D22-4721-859B159C0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8CA59-857C-4A59-9F9E-32B477F72684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821EA3-F971-933D-3F37-AFFAE7FEB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655480-CE5A-8659-14F5-BDB86A17F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C9888A-F851-41C8-A1F0-24987119D6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6570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2EA4D-B4D5-455C-93B6-81DB17BC9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1459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altLang="zh-CN"/>
              <a:t>Teng, Xun </a:t>
            </a:r>
            <a:r>
              <a:rPr lang="en-US"/>
              <a:t>| ITT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2125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Intro Title Picture 2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9D6B77C-942E-464F-8C07-7EF626E3CA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90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9D6B77C-942E-464F-8C07-7EF626E3C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Unschärfe enthält.&#10;&#10;Automatisch generierte Beschreibung">
            <a:extLst>
              <a:ext uri="{FF2B5EF4-FFF2-40B4-BE49-F238E27FC236}">
                <a16:creationId xmlns:a16="http://schemas.microsoft.com/office/drawing/2014/main" id="{94F86FA1-1997-4143-BED5-6760BEE6AA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4478" y="1619999"/>
            <a:ext cx="9895293" cy="5238001"/>
          </a:xfrm>
          <a:prstGeom prst="rect">
            <a:avLst/>
          </a:prstGeom>
        </p:spPr>
      </p:pic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Optional subhead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 5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GB" sz="1100" b="0">
                <a:solidFill>
                  <a:schemeClr val="tx1"/>
                </a:solidFill>
                <a:latin typeface="+mn-lt"/>
              </a:rPr>
            </a:br>
            <a:r>
              <a:rPr lang="en-GB" sz="1100" b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3334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9C6AB3-7479-4579-8D11-E5C4E8D96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CE27B7-9301-434C-AE6D-0F8CC1D3B6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E7D3CA-335C-49F8-8D7D-426F86FF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928841-5E07-4566-BC84-9B462736C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75635B-BDFB-43FA-AF34-511410540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766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7610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 Title Picture (vertical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1" hasCustomPrompt="1"/>
          </p:nvPr>
        </p:nvSpPr>
        <p:spPr>
          <a:xfrm>
            <a:off x="5237163" y="0"/>
            <a:ext cx="6932612" cy="6858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 dirty="0"/>
              <a:t>Add a picture</a:t>
            </a:r>
            <a:endParaRPr lang="de-DE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5032800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600"/>
            <a:ext cx="4516188" cy="33660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rgbClr val="EC660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18190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35A1E-3E97-495F-9DF6-2643FEFC4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Siemens Healthineers logo">
            <a:extLst>
              <a:ext uri="{FF2B5EF4-FFF2-40B4-BE49-F238E27FC236}">
                <a16:creationId xmlns:a16="http://schemas.microsoft.com/office/drawing/2014/main" id="{EB71AD75-CC47-40C4-8E4C-9FAA2BC5E8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9991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35A1E-3E97-495F-9DF6-2643FEFC4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Siemens Healthineers logo">
            <a:extLst>
              <a:ext uri="{FF2B5EF4-FFF2-40B4-BE49-F238E27FC236}">
                <a16:creationId xmlns:a16="http://schemas.microsoft.com/office/drawing/2014/main" id="{EB71AD75-CC47-40C4-8E4C-9FAA2BC5E8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pic>
        <p:nvPicPr>
          <p:cNvPr id="5" name="Picture 4" descr="A picture containing text, watch&#10;&#10;Description automatically generated">
            <a:extLst>
              <a:ext uri="{FF2B5EF4-FFF2-40B4-BE49-F238E27FC236}">
                <a16:creationId xmlns:a16="http://schemas.microsoft.com/office/drawing/2014/main" id="{7B70746E-038C-42C9-A83D-51EF31139C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600" y="4328585"/>
            <a:ext cx="4448175" cy="252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1504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hapter title</a:t>
            </a:r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8625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358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/>
              <a:t>Click to add footnot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0482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6A29D-3BB9-4FE6-919E-BB57DAD2A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BABE88-6394-4C52-BC6D-D154BE7A8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023EFA-DD64-46BD-A5E8-A91B6D82F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9ABE7-BAAD-4411-B654-0175AAA85479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F98467-9A2E-48F1-8320-C2C7E9334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4A855-E54B-4AD4-88AE-4455E0CC2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0B827B-E046-494E-9573-ED2C0722C7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773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18F1C-C6BC-4494-939A-12B6CB11E5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222" y="1122363"/>
            <a:ext cx="9127331" cy="2387600"/>
          </a:xfrm>
        </p:spPr>
        <p:txBody>
          <a:bodyPr anchor="b"/>
          <a:lstStyle>
            <a:lvl1pPr algn="ctr">
              <a:defRPr sz="59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9775E4-204B-4EA7-A894-B301783FF6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222" y="3602038"/>
            <a:ext cx="9127331" cy="1655762"/>
          </a:xfrm>
        </p:spPr>
        <p:txBody>
          <a:bodyPr/>
          <a:lstStyle>
            <a:lvl1pPr marL="0" indent="0" algn="ctr">
              <a:buNone/>
              <a:defRPr sz="2396"/>
            </a:lvl1pPr>
            <a:lvl2pPr marL="456377" indent="0" algn="ctr">
              <a:buNone/>
              <a:defRPr sz="1996"/>
            </a:lvl2pPr>
            <a:lvl3pPr marL="912754" indent="0" algn="ctr">
              <a:buNone/>
              <a:defRPr sz="1797"/>
            </a:lvl3pPr>
            <a:lvl4pPr marL="1369131" indent="0" algn="ctr">
              <a:buNone/>
              <a:defRPr sz="1597"/>
            </a:lvl4pPr>
            <a:lvl5pPr marL="1825508" indent="0" algn="ctr">
              <a:buNone/>
              <a:defRPr sz="1597"/>
            </a:lvl5pPr>
            <a:lvl6pPr marL="2281885" indent="0" algn="ctr">
              <a:buNone/>
              <a:defRPr sz="1597"/>
            </a:lvl6pPr>
            <a:lvl7pPr marL="2738262" indent="0" algn="ctr">
              <a:buNone/>
              <a:defRPr sz="1597"/>
            </a:lvl7pPr>
            <a:lvl8pPr marL="3194639" indent="0" algn="ctr">
              <a:buNone/>
              <a:defRPr sz="1597"/>
            </a:lvl8pPr>
            <a:lvl9pPr marL="3651016" indent="0" algn="ctr">
              <a:buNone/>
              <a:defRPr sz="159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9FB711-4F1C-4FA4-9194-400AC9A8F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2BB75-19A3-4FED-8925-BFBB914E7AB3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B4D152-B299-445E-A222-2717FBCB0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AD8EB1-9B48-4690-B01D-FDE61F161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3A423D-D2DE-40E8-B314-74E4984554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826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Intro Title Picture 2">
    <p:bg bwMode="lt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9D6B77C-942E-464F-8C07-7EF626E3CA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90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9D6B77C-942E-464F-8C07-7EF626E3C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Unschärfe enthält.&#10;&#10;Automatisch generierte Beschreibung">
            <a:extLst>
              <a:ext uri="{FF2B5EF4-FFF2-40B4-BE49-F238E27FC236}">
                <a16:creationId xmlns:a16="http://schemas.microsoft.com/office/drawing/2014/main" id="{94F86FA1-1997-4143-BED5-6760BEE6AA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4478" y="1619999"/>
            <a:ext cx="9895293" cy="5238001"/>
          </a:xfrm>
          <a:prstGeom prst="rect">
            <a:avLst/>
          </a:prstGeom>
        </p:spPr>
      </p:pic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vert="horz"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Optional subhead</a:t>
            </a:r>
            <a:endParaRPr lang="en-US" noProof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Headline </a:t>
            </a:r>
            <a:br>
              <a:rPr lang="en-US"/>
            </a:br>
            <a:r>
              <a:rPr lang="en-US"/>
              <a:t>Calibri Bold 5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er Calibri 16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English, Month 20XX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>
                <a:solidFill>
                  <a:schemeClr val="tx1"/>
                </a:solidFill>
              </a:rPr>
              <a:t>optionally  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>
              <a:solidFill>
                <a:schemeClr val="bg1"/>
              </a:solidFill>
              <a:latin typeface="+mn-lt"/>
            </a:endParaRP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GB" sz="1100" b="0">
                <a:solidFill>
                  <a:schemeClr val="tx1"/>
                </a:solidFill>
                <a:latin typeface="+mn-lt"/>
              </a:rPr>
            </a:br>
            <a:r>
              <a:rPr lang="en-GB" sz="1100" b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39830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0040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5217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B354684-1C95-48CD-8538-EFD3D6972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E290C-BF81-480E-845D-839885AE7DA0}" type="datetimeFigureOut">
              <a:rPr lang="zh-CN" altLang="en-US" smtClean="0"/>
              <a:t>2023/9/2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0FA9422-42F0-4BA9-A2CB-679DF30C4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6DA97C-B4AC-4D6D-BE3D-94329D5B0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9EAB26-9642-446A-BC0F-69E102FE56A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45925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1B35C3-5430-42A1-9DE0-B924288AC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222" y="1122363"/>
            <a:ext cx="9127331" cy="2387600"/>
          </a:xfrm>
        </p:spPr>
        <p:txBody>
          <a:bodyPr anchor="b"/>
          <a:lstStyle>
            <a:lvl1pPr algn="ctr">
              <a:defRPr sz="598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B0E1E43-BE1B-4BF4-95DC-338840EE85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222" y="3602038"/>
            <a:ext cx="9127331" cy="1655762"/>
          </a:xfrm>
        </p:spPr>
        <p:txBody>
          <a:bodyPr/>
          <a:lstStyle>
            <a:lvl1pPr marL="0" indent="0" algn="ctr">
              <a:buNone/>
              <a:defRPr sz="2396"/>
            </a:lvl1pPr>
            <a:lvl2pPr marL="456377" indent="0" algn="ctr">
              <a:buNone/>
              <a:defRPr sz="1996"/>
            </a:lvl2pPr>
            <a:lvl3pPr marL="912754" indent="0" algn="ctr">
              <a:buNone/>
              <a:defRPr sz="1797"/>
            </a:lvl3pPr>
            <a:lvl4pPr marL="1369131" indent="0" algn="ctr">
              <a:buNone/>
              <a:defRPr sz="1597"/>
            </a:lvl4pPr>
            <a:lvl5pPr marL="1825508" indent="0" algn="ctr">
              <a:buNone/>
              <a:defRPr sz="1597"/>
            </a:lvl5pPr>
            <a:lvl6pPr marL="2281885" indent="0" algn="ctr">
              <a:buNone/>
              <a:defRPr sz="1597"/>
            </a:lvl6pPr>
            <a:lvl7pPr marL="2738262" indent="0" algn="ctr">
              <a:buNone/>
              <a:defRPr sz="1597"/>
            </a:lvl7pPr>
            <a:lvl8pPr marL="3194639" indent="0" algn="ctr">
              <a:buNone/>
              <a:defRPr sz="1597"/>
            </a:lvl8pPr>
            <a:lvl9pPr marL="3651016" indent="0" algn="ctr">
              <a:buNone/>
              <a:defRPr sz="1597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0BE0A0-4D96-4D21-A6F9-A1B15AD1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27809D-B54A-4A31-89C6-C9B49C53C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368D02-14A8-42E9-B5F5-6CD5AC2B7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76007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9C6AB3-7479-4579-8D11-E5C4E8D96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CE27B7-9301-434C-AE6D-0F8CC1D3B6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E7D3CA-335C-49F8-8D7D-426F86FF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928841-5E07-4566-BC84-9B462736C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75635B-BDFB-43FA-AF34-511410540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6648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3E2ECA-21FE-49BA-B7AD-4DFB78CD2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334" y="1709739"/>
            <a:ext cx="10496431" cy="2852737"/>
          </a:xfrm>
        </p:spPr>
        <p:txBody>
          <a:bodyPr anchor="b"/>
          <a:lstStyle>
            <a:lvl1pPr>
              <a:defRPr sz="598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3461FBC-5D5F-46C9-9672-8B6CA7B530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0334" y="4589464"/>
            <a:ext cx="10496431" cy="1500187"/>
          </a:xfrm>
        </p:spPr>
        <p:txBody>
          <a:bodyPr/>
          <a:lstStyle>
            <a:lvl1pPr marL="0" indent="0">
              <a:buNone/>
              <a:defRPr sz="2396">
                <a:solidFill>
                  <a:schemeClr val="tx1">
                    <a:tint val="75000"/>
                  </a:schemeClr>
                </a:solidFill>
              </a:defRPr>
            </a:lvl1pPr>
            <a:lvl2pPr marL="456377" indent="0">
              <a:buNone/>
              <a:defRPr sz="1996">
                <a:solidFill>
                  <a:schemeClr val="tx1">
                    <a:tint val="75000"/>
                  </a:schemeClr>
                </a:solidFill>
              </a:defRPr>
            </a:lvl2pPr>
            <a:lvl3pPr marL="912754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3pPr>
            <a:lvl4pPr marL="1369131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4pPr>
            <a:lvl5pPr marL="1825508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5pPr>
            <a:lvl6pPr marL="2281885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6pPr>
            <a:lvl7pPr marL="2738262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7pPr>
            <a:lvl8pPr marL="3194639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8pPr>
            <a:lvl9pPr marL="3651016" indent="0">
              <a:buNone/>
              <a:defRPr sz="159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EBA9BA5-6DF6-4F48-8CCA-99DE1A542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1768D9C-15F3-4331-B92D-46F2CB5DD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91716D-A352-45DB-A6C9-23DF3FCF2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03659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95AD3B-75E3-4A6F-8DE8-984C6DEB9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780C64-3138-489C-BB66-59A1B0705B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6672" y="1825625"/>
            <a:ext cx="5172154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0F79AEB-CAC6-4762-9564-A5783C8E86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0949" y="1825625"/>
            <a:ext cx="5172154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44E7A2-55E2-469F-A0E7-FDB26CE95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0078FC-12EB-41F1-BF6F-76AF283FD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D29E85E-0A03-4032-83A0-934720B69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44389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E4D161-E34C-41B7-89DB-B930A6D32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57" y="365126"/>
            <a:ext cx="10496431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D268D03-6F3F-4378-AD0F-EE0CD457B2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58" y="1681163"/>
            <a:ext cx="5148385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377" indent="0">
              <a:buNone/>
              <a:defRPr sz="1996" b="1"/>
            </a:lvl2pPr>
            <a:lvl3pPr marL="912754" indent="0">
              <a:buNone/>
              <a:defRPr sz="1797" b="1"/>
            </a:lvl3pPr>
            <a:lvl4pPr marL="1369131" indent="0">
              <a:buNone/>
              <a:defRPr sz="1597" b="1"/>
            </a:lvl4pPr>
            <a:lvl5pPr marL="1825508" indent="0">
              <a:buNone/>
              <a:defRPr sz="1597" b="1"/>
            </a:lvl5pPr>
            <a:lvl6pPr marL="2281885" indent="0">
              <a:buNone/>
              <a:defRPr sz="1597" b="1"/>
            </a:lvl6pPr>
            <a:lvl7pPr marL="2738262" indent="0">
              <a:buNone/>
              <a:defRPr sz="1597" b="1"/>
            </a:lvl7pPr>
            <a:lvl8pPr marL="3194639" indent="0">
              <a:buNone/>
              <a:defRPr sz="1597" b="1"/>
            </a:lvl8pPr>
            <a:lvl9pPr marL="3651016" indent="0">
              <a:buNone/>
              <a:defRPr sz="1597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3E1793A-81A2-437C-BDDC-F373026380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258" y="2505075"/>
            <a:ext cx="5148385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7A1614-F1DE-428B-8834-797D3EDA1C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0949" y="1681163"/>
            <a:ext cx="5173739" cy="823912"/>
          </a:xfrm>
        </p:spPr>
        <p:txBody>
          <a:bodyPr anchor="b"/>
          <a:lstStyle>
            <a:lvl1pPr marL="0" indent="0">
              <a:buNone/>
              <a:defRPr sz="2396" b="1"/>
            </a:lvl1pPr>
            <a:lvl2pPr marL="456377" indent="0">
              <a:buNone/>
              <a:defRPr sz="1996" b="1"/>
            </a:lvl2pPr>
            <a:lvl3pPr marL="912754" indent="0">
              <a:buNone/>
              <a:defRPr sz="1797" b="1"/>
            </a:lvl3pPr>
            <a:lvl4pPr marL="1369131" indent="0">
              <a:buNone/>
              <a:defRPr sz="1597" b="1"/>
            </a:lvl4pPr>
            <a:lvl5pPr marL="1825508" indent="0">
              <a:buNone/>
              <a:defRPr sz="1597" b="1"/>
            </a:lvl5pPr>
            <a:lvl6pPr marL="2281885" indent="0">
              <a:buNone/>
              <a:defRPr sz="1597" b="1"/>
            </a:lvl6pPr>
            <a:lvl7pPr marL="2738262" indent="0">
              <a:buNone/>
              <a:defRPr sz="1597" b="1"/>
            </a:lvl7pPr>
            <a:lvl8pPr marL="3194639" indent="0">
              <a:buNone/>
              <a:defRPr sz="1597" b="1"/>
            </a:lvl8pPr>
            <a:lvl9pPr marL="3651016" indent="0">
              <a:buNone/>
              <a:defRPr sz="1597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5116544-163F-4AD8-811B-9AF9CFC6BB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0949" y="2505075"/>
            <a:ext cx="5173739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9971D2C-1F29-441D-A663-E7D8B1FCD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96E6D52-BF48-416E-A777-3D22F6417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9E6D97A-CE12-43D0-B0A0-0AAD09DD9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78211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A1C754-4855-47EB-819B-E137E6BD5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0057D6-1A89-420D-889A-80AD9B874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E8DC3C-A857-43E0-B131-EF81F106C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8D08CC-F319-4248-BEEC-7221AAD15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87820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139BE5E-A798-4187-907C-D5E086B53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A32935-36D0-49FF-B586-7FF2C48C9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AC022F-734A-4783-B46A-AC762EAF6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0119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CD71FF-72E2-4093-9B33-08A04F77E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58" y="457200"/>
            <a:ext cx="3925069" cy="1600200"/>
          </a:xfrm>
        </p:spPr>
        <p:txBody>
          <a:bodyPr anchor="b"/>
          <a:lstStyle>
            <a:lvl1pPr>
              <a:defRPr sz="3194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CF86650-B5CA-4AA4-9DA1-74C4E4CBA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3739" y="987426"/>
            <a:ext cx="6160949" cy="4873625"/>
          </a:xfrm>
        </p:spPr>
        <p:txBody>
          <a:bodyPr/>
          <a:lstStyle>
            <a:lvl1pPr>
              <a:defRPr sz="3194"/>
            </a:lvl1pPr>
            <a:lvl2pPr>
              <a:defRPr sz="2795"/>
            </a:lvl2pPr>
            <a:lvl3pPr>
              <a:defRPr sz="2396"/>
            </a:lvl3pPr>
            <a:lvl4pPr>
              <a:defRPr sz="1996"/>
            </a:lvl4pPr>
            <a:lvl5pPr>
              <a:defRPr sz="1996"/>
            </a:lvl5pPr>
            <a:lvl6pPr>
              <a:defRPr sz="1996"/>
            </a:lvl6pPr>
            <a:lvl7pPr>
              <a:defRPr sz="1996"/>
            </a:lvl7pPr>
            <a:lvl8pPr>
              <a:defRPr sz="1996"/>
            </a:lvl8pPr>
            <a:lvl9pPr>
              <a:defRPr sz="1996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848E2E-B9A6-450B-85EF-61B686CE49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58" y="2057400"/>
            <a:ext cx="3925069" cy="3811588"/>
          </a:xfrm>
        </p:spPr>
        <p:txBody>
          <a:bodyPr/>
          <a:lstStyle>
            <a:lvl1pPr marL="0" indent="0">
              <a:buNone/>
              <a:defRPr sz="1597"/>
            </a:lvl1pPr>
            <a:lvl2pPr marL="456377" indent="0">
              <a:buNone/>
              <a:defRPr sz="1397"/>
            </a:lvl2pPr>
            <a:lvl3pPr marL="912754" indent="0">
              <a:buNone/>
              <a:defRPr sz="1198"/>
            </a:lvl3pPr>
            <a:lvl4pPr marL="1369131" indent="0">
              <a:buNone/>
              <a:defRPr sz="998"/>
            </a:lvl4pPr>
            <a:lvl5pPr marL="1825508" indent="0">
              <a:buNone/>
              <a:defRPr sz="998"/>
            </a:lvl5pPr>
            <a:lvl6pPr marL="2281885" indent="0">
              <a:buNone/>
              <a:defRPr sz="998"/>
            </a:lvl6pPr>
            <a:lvl7pPr marL="2738262" indent="0">
              <a:buNone/>
              <a:defRPr sz="998"/>
            </a:lvl7pPr>
            <a:lvl8pPr marL="3194639" indent="0">
              <a:buNone/>
              <a:defRPr sz="998"/>
            </a:lvl8pPr>
            <a:lvl9pPr marL="3651016" indent="0">
              <a:buNone/>
              <a:defRPr sz="998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4DE6AB2-84A0-4716-8867-EA5DF0A64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031D507-C99D-4C98-B11F-D7BCFDE06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A10835-22B3-46A3-9034-17318672A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3065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34200" y="0"/>
            <a:ext cx="52355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12775" y="2334410"/>
            <a:ext cx="4115663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21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D43BC1-5404-4545-8569-A62208F37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58" y="457200"/>
            <a:ext cx="3925069" cy="1600200"/>
          </a:xfrm>
        </p:spPr>
        <p:txBody>
          <a:bodyPr anchor="b"/>
          <a:lstStyle>
            <a:lvl1pPr>
              <a:defRPr sz="3194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62A7F90-4ED7-43F5-A17E-187078B278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73739" y="987426"/>
            <a:ext cx="6160949" cy="4873625"/>
          </a:xfrm>
        </p:spPr>
        <p:txBody>
          <a:bodyPr/>
          <a:lstStyle>
            <a:lvl1pPr marL="0" indent="0">
              <a:buNone/>
              <a:defRPr sz="3194"/>
            </a:lvl1pPr>
            <a:lvl2pPr marL="456377" indent="0">
              <a:buNone/>
              <a:defRPr sz="2795"/>
            </a:lvl2pPr>
            <a:lvl3pPr marL="912754" indent="0">
              <a:buNone/>
              <a:defRPr sz="2396"/>
            </a:lvl3pPr>
            <a:lvl4pPr marL="1369131" indent="0">
              <a:buNone/>
              <a:defRPr sz="1996"/>
            </a:lvl4pPr>
            <a:lvl5pPr marL="1825508" indent="0">
              <a:buNone/>
              <a:defRPr sz="1996"/>
            </a:lvl5pPr>
            <a:lvl6pPr marL="2281885" indent="0">
              <a:buNone/>
              <a:defRPr sz="1996"/>
            </a:lvl6pPr>
            <a:lvl7pPr marL="2738262" indent="0">
              <a:buNone/>
              <a:defRPr sz="1996"/>
            </a:lvl7pPr>
            <a:lvl8pPr marL="3194639" indent="0">
              <a:buNone/>
              <a:defRPr sz="1996"/>
            </a:lvl8pPr>
            <a:lvl9pPr marL="3651016" indent="0">
              <a:buNone/>
              <a:defRPr sz="1996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DCDCD5A-D15C-4125-A87A-63538514CD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58" y="2057400"/>
            <a:ext cx="3925069" cy="3811588"/>
          </a:xfrm>
        </p:spPr>
        <p:txBody>
          <a:bodyPr/>
          <a:lstStyle>
            <a:lvl1pPr marL="0" indent="0">
              <a:buNone/>
              <a:defRPr sz="1597"/>
            </a:lvl1pPr>
            <a:lvl2pPr marL="456377" indent="0">
              <a:buNone/>
              <a:defRPr sz="1397"/>
            </a:lvl2pPr>
            <a:lvl3pPr marL="912754" indent="0">
              <a:buNone/>
              <a:defRPr sz="1198"/>
            </a:lvl3pPr>
            <a:lvl4pPr marL="1369131" indent="0">
              <a:buNone/>
              <a:defRPr sz="998"/>
            </a:lvl4pPr>
            <a:lvl5pPr marL="1825508" indent="0">
              <a:buNone/>
              <a:defRPr sz="998"/>
            </a:lvl5pPr>
            <a:lvl6pPr marL="2281885" indent="0">
              <a:buNone/>
              <a:defRPr sz="998"/>
            </a:lvl6pPr>
            <a:lvl7pPr marL="2738262" indent="0">
              <a:buNone/>
              <a:defRPr sz="998"/>
            </a:lvl7pPr>
            <a:lvl8pPr marL="3194639" indent="0">
              <a:buNone/>
              <a:defRPr sz="998"/>
            </a:lvl8pPr>
            <a:lvl9pPr marL="3651016" indent="0">
              <a:buNone/>
              <a:defRPr sz="998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C50C9D4-AE0E-4E29-9B4A-67B055177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6F15A41-831B-4EB6-AA3B-84FBE1F8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E320942-CF9F-4015-AF51-4C3C080A4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04775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13B34C-DA6B-4B1B-ADD3-830692250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33F68B-3371-435F-AFDA-4809953C2F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A864E2-32A3-47FF-9126-22396500B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1F9FBFC-0BD5-43DE-B7E9-5BA75EE1A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A14EC0-0207-407D-BF1F-33CE84939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8597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AE3B347-7AC6-4F09-9C62-4397E41AE7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08995" y="365125"/>
            <a:ext cx="2624108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AB4B076-B41D-4769-9054-B0F3C5B945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6672" y="365125"/>
            <a:ext cx="7720201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299D32D-3AC9-4CD7-89A8-57F57CC8B5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606EAF-0F95-444A-B872-60C7CEE38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3BF7E5-8494-43F6-80BF-5BB0482A4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3879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6000" indent="-2160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32000" indent="-216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Author | Department</a:t>
            </a:r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Author | Departmen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56CCEAE-879D-4547-B71E-73B9FC53B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242306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4" imgH="344" progId="TCLayout.ActiveDocument.1">
                  <p:embed/>
                </p:oleObj>
              </mc:Choice>
              <mc:Fallback>
                <p:oleObj name="think-cell Slide" r:id="rId28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56CCEAE-879D-4547-B71E-73B9FC53B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Author | Department</a:t>
            </a:r>
            <a:endParaRPr lang="en-US" dirty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stricted © Siemens Healthineers AG, 2023</a:t>
            </a: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7" r:id="rId2"/>
    <p:sldLayoutId id="2147483729" r:id="rId3"/>
    <p:sldLayoutId id="2147483733" r:id="rId4"/>
    <p:sldLayoutId id="2147483718" r:id="rId5"/>
    <p:sldLayoutId id="2147483716" r:id="rId6"/>
    <p:sldLayoutId id="2147483725" r:id="rId7"/>
    <p:sldLayoutId id="2147483724" r:id="rId8"/>
    <p:sldLayoutId id="2147483698" r:id="rId9"/>
    <p:sldLayoutId id="2147483723" r:id="rId10"/>
    <p:sldLayoutId id="2147483721" r:id="rId11"/>
    <p:sldLayoutId id="2147483706" r:id="rId12"/>
    <p:sldLayoutId id="2147483730" r:id="rId13"/>
    <p:sldLayoutId id="2147483692" r:id="rId14"/>
    <p:sldLayoutId id="2147483719" r:id="rId15"/>
    <p:sldLayoutId id="2147483731" r:id="rId16"/>
    <p:sldLayoutId id="2147483727" r:id="rId17"/>
    <p:sldLayoutId id="2147483710" r:id="rId18"/>
    <p:sldLayoutId id="2147483712" r:id="rId19"/>
    <p:sldLayoutId id="2147483702" r:id="rId20"/>
    <p:sldLayoutId id="2147483732" r:id="rId21"/>
    <p:sldLayoutId id="2147483726" r:id="rId22"/>
    <p:sldLayoutId id="2147483739" r:id="rId23"/>
    <p:sldLayoutId id="2147483741" r:id="rId24"/>
    <p:sldLayoutId id="2147483757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8C72643-A020-4117-9CA6-1CD8764D60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54050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8C72643-A020-4117-9CA6-1CD8764D6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571288" y="636601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3" name="Footnote">
            <a:extLst>
              <a:ext uri="{FF2B5EF4-FFF2-40B4-BE49-F238E27FC236}">
                <a16:creationId xmlns:a16="http://schemas.microsoft.com/office/drawing/2014/main" id="{4B9BA74C-DAA2-4946-AA72-7AEA656599C9}"/>
              </a:ext>
            </a:extLst>
          </p:cNvPr>
          <p:cNvSpPr txBox="1">
            <a:spLocks/>
          </p:cNvSpPr>
          <p:nvPr userDrawn="1"/>
        </p:nvSpPr>
        <p:spPr>
          <a:xfrm>
            <a:off x="540000" y="6258011"/>
            <a:ext cx="4510800" cy="360000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>H</a:t>
            </a:r>
            <a:r>
              <a:rPr lang="en-US" altLang="zh-CN" sz="1000">
                <a:solidFill>
                  <a:schemeClr val="tx1"/>
                </a:solidFill>
              </a:rPr>
              <a:t>ackathon 2022</a:t>
            </a:r>
            <a:endParaRPr lang="en-US" sz="100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>
                <a:solidFill>
                  <a:schemeClr val="tx1"/>
                </a:solidFill>
              </a:rPr>
              <a:t>Confidential © Siemens Healthineers, 202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BE76E9F-44B7-45D6-A00B-0DDFC5BB7F1A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69" name="Picture 68" descr="A picture containing text, watch&#10;&#10;Description automatically generated">
            <a:extLst>
              <a:ext uri="{FF2B5EF4-FFF2-40B4-BE49-F238E27FC236}">
                <a16:creationId xmlns:a16="http://schemas.microsoft.com/office/drawing/2014/main" id="{4304C149-F824-4CC2-98B8-518344F238A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600" y="4328585"/>
            <a:ext cx="4448175" cy="252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847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58" r:id="rId4"/>
    <p:sldLayoutId id="2147483759" r:id="rId5"/>
    <p:sldLayoutId id="2147483760" r:id="rId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8C72643-A020-4117-9CA6-1CD8764D60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2465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8C72643-A020-4117-9CA6-1CD8764D60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4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5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6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7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8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Siemens Healthineers logo">
            <a:extLst>
              <a:ext uri="{FF2B5EF4-FFF2-40B4-BE49-F238E27FC236}">
                <a16:creationId xmlns:a16="http://schemas.microsoft.com/office/drawing/2014/main" id="{CA808C32-3AE0-4E95-8877-A9ACB376DA9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95981FAA-EE68-487B-8BC5-26A0B52F1E06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8" name="Restricted">
            <a:extLst>
              <a:ext uri="{FF2B5EF4-FFF2-40B4-BE49-F238E27FC236}">
                <a16:creationId xmlns:a16="http://schemas.microsoft.com/office/drawing/2014/main" id="{EAF238EC-52A2-425B-82E4-DB15ABA10CDA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>
                <a:solidFill>
                  <a:schemeClr val="bg1"/>
                </a:solidFill>
              </a:rPr>
              <a:t>Confidential © Siemens Healthineers, 2022</a:t>
            </a:r>
          </a:p>
        </p:txBody>
      </p:sp>
      <p:sp>
        <p:nvSpPr>
          <p:cNvPr id="81" name="Restricted">
            <a:extLst>
              <a:ext uri="{FF2B5EF4-FFF2-40B4-BE49-F238E27FC236}">
                <a16:creationId xmlns:a16="http://schemas.microsoft.com/office/drawing/2014/main" id="{12645053-872B-441A-95CB-E5FCF281DC2F}"/>
              </a:ext>
            </a:extLst>
          </p:cNvPr>
          <p:cNvSpPr txBox="1"/>
          <p:nvPr userDrawn="1"/>
        </p:nvSpPr>
        <p:spPr>
          <a:xfrm>
            <a:off x="8050085" y="6330583"/>
            <a:ext cx="32594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>
                <a:solidFill>
                  <a:schemeClr val="bg1"/>
                </a:solidFill>
              </a:rPr>
              <a:t>Hackathon 2022</a:t>
            </a:r>
          </a:p>
        </p:txBody>
      </p:sp>
      <p:pic>
        <p:nvPicPr>
          <p:cNvPr id="69" name="Picture 68" descr="A picture containing text, watch&#10;&#10;Description automatically generated">
            <a:extLst>
              <a:ext uri="{FF2B5EF4-FFF2-40B4-BE49-F238E27FC236}">
                <a16:creationId xmlns:a16="http://schemas.microsoft.com/office/drawing/2014/main" id="{CE12303F-1880-4DA6-B6AD-BB36E0BDE273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600" y="4328585"/>
            <a:ext cx="4448175" cy="252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247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B8E0DC-8E8A-46BB-A0B0-4B0B1EB82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70230009"/>
              </p:ext>
            </p:extLst>
          </p:nvPr>
        </p:nvGraphicFramePr>
        <p:xfrm>
          <a:off x="1585" y="1588"/>
          <a:ext cx="158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62" imgH="262" progId="TCLayout.ActiveDocument.1">
                  <p:embed/>
                </p:oleObj>
              </mc:Choice>
              <mc:Fallback>
                <p:oleObj name="think-cell Folie" r:id="rId14" imgW="262" imgH="26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B8E0DC-8E8A-46BB-A0B0-4B0B1EB82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5" y="1588"/>
                        <a:ext cx="158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F026795-C89A-4502-8911-C2AD73C9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2" y="365126"/>
            <a:ext cx="104964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76B7AF3-1822-422A-8BCE-205E4FAA3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672" y="1825625"/>
            <a:ext cx="1049643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2535C1B-89B2-4710-A00B-E1F83050F2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6672" y="6356351"/>
            <a:ext cx="2738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3DC753-D9A9-4EF9-BD62-9CFFD740C5DE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0E7282-EF02-4540-9B4E-01FD20FE1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1238" y="6356351"/>
            <a:ext cx="41072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A95BF98-5F85-4443-A44F-2E4B716E73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94904" y="6356351"/>
            <a:ext cx="2738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880883-B393-4118-9422-CBF87A2325E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6110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txStyles>
    <p:titleStyle>
      <a:lvl1pPr algn="l" defTabSz="912754" rtl="0" eaLnBrk="1" latinLnBrk="0" hangingPunct="1">
        <a:lnSpc>
          <a:spcPct val="90000"/>
        </a:lnSpc>
        <a:spcBef>
          <a:spcPct val="0"/>
        </a:spcBef>
        <a:buNone/>
        <a:defRPr sz="43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189" indent="-228189" algn="l" defTabSz="912754" rtl="0" eaLnBrk="1" latinLnBrk="0" hangingPunct="1">
        <a:lnSpc>
          <a:spcPct val="90000"/>
        </a:lnSpc>
        <a:spcBef>
          <a:spcPts val="998"/>
        </a:spcBef>
        <a:buFont typeface="Arial" panose="020B0604020202020204" pitchFamily="34" charset="0"/>
        <a:buChar char="•"/>
        <a:defRPr sz="2795" kern="1200">
          <a:solidFill>
            <a:schemeClr val="tx1"/>
          </a:solidFill>
          <a:latin typeface="+mn-lt"/>
          <a:ea typeface="+mn-ea"/>
          <a:cs typeface="+mn-cs"/>
        </a:defRPr>
      </a:lvl1pPr>
      <a:lvl2pPr marL="684566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140943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996" kern="1200">
          <a:solidFill>
            <a:schemeClr val="tx1"/>
          </a:solidFill>
          <a:latin typeface="+mn-lt"/>
          <a:ea typeface="+mn-ea"/>
          <a:cs typeface="+mn-cs"/>
        </a:defRPr>
      </a:lvl3pPr>
      <a:lvl4pPr marL="1597320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2053697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510074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966451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422828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879205" indent="-228189" algn="l" defTabSz="91275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377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2754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69131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5508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1885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38262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4639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1016" algn="l" defTabSz="912754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8.emf"/><Relationship Id="rId11" Type="http://schemas.openxmlformats.org/officeDocument/2006/relationships/image" Target="../media/image33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2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8.xml"/><Relationship Id="rId5" Type="http://schemas.openxmlformats.org/officeDocument/2006/relationships/image" Target="../media/image36.jpeg"/><Relationship Id="rId4" Type="http://schemas.openxmlformats.org/officeDocument/2006/relationships/image" Target="../media/image3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9.xml"/><Relationship Id="rId5" Type="http://schemas.openxmlformats.org/officeDocument/2006/relationships/image" Target="../media/image37.png"/><Relationship Id="rId4" Type="http://schemas.openxmlformats.org/officeDocument/2006/relationships/image" Target="../media/image3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0.xml"/><Relationship Id="rId4" Type="http://schemas.openxmlformats.org/officeDocument/2006/relationships/image" Target="../media/image3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0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9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3.emf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2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0" Type="http://schemas.openxmlformats.org/officeDocument/2006/relationships/image" Target="../media/image25.png"/><Relationship Id="rId4" Type="http://schemas.openxmlformats.org/officeDocument/2006/relationships/image" Target="../media/image19.emf"/><Relationship Id="rId9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DC92857-2184-45F3-8496-F051FF2D28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7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DC92857-2184-45F3-8496-F051FF2D2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esenter"/>
          <p:cNvSpPr>
            <a:spLocks noGrp="1"/>
          </p:cNvSpPr>
          <p:nvPr>
            <p:ph type="body" sz="quarter" idx="10"/>
          </p:nvPr>
        </p:nvSpPr>
        <p:spPr bwMode="gray">
          <a:xfrm>
            <a:off x="544894" y="5409220"/>
            <a:ext cx="3574800" cy="541015"/>
          </a:xfrm>
        </p:spPr>
        <p:txBody>
          <a:bodyPr anchor="t"/>
          <a:lstStyle/>
          <a:p>
            <a:r>
              <a:rPr lang="en-US" sz="2000" dirty="0">
                <a:latin typeface="Bree-SH-Headline-Regular" pitchFamily="50" charset="0"/>
              </a:rPr>
              <a:t>Srikanth Aakuthota</a:t>
            </a:r>
          </a:p>
          <a:p>
            <a:r>
              <a:rPr lang="en-US" altLang="zh-CN" sz="2000" dirty="0">
                <a:latin typeface="Bree-SH-Text" pitchFamily="2" charset="0"/>
              </a:rPr>
              <a:t>Sep 2023</a:t>
            </a:r>
            <a:r>
              <a:rPr lang="en-US" sz="2000" dirty="0">
                <a:latin typeface="Bree-SH-Text" pitchFamily="2" charset="0"/>
              </a:rPr>
              <a:t>, Bangalore</a:t>
            </a:r>
          </a:p>
        </p:txBody>
      </p:sp>
      <p:sp>
        <p:nvSpPr>
          <p:cNvPr id="8" name="Headline">
            <a:extLst>
              <a:ext uri="{FF2B5EF4-FFF2-40B4-BE49-F238E27FC236}">
                <a16:creationId xmlns:a16="http://schemas.microsoft.com/office/drawing/2014/main" id="{F3E35967-F44B-6C3D-BE43-2458BA5EDC45}"/>
              </a:ext>
            </a:extLst>
          </p:cNvPr>
          <p:cNvSpPr txBox="1">
            <a:spLocks/>
          </p:cNvSpPr>
          <p:nvPr/>
        </p:nvSpPr>
        <p:spPr bwMode="gray">
          <a:xfrm>
            <a:off x="3176" y="2067473"/>
            <a:ext cx="5325627" cy="24004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800" dirty="0">
                <a:latin typeface="Bree-SH-Headline-Regular" pitchFamily="50" charset="0"/>
              </a:rPr>
              <a:t>Project Updates </a:t>
            </a:r>
          </a:p>
          <a:p>
            <a:pPr algn="r"/>
            <a:r>
              <a:rPr lang="en-US" sz="2800" dirty="0">
                <a:latin typeface="Bree-SH-Headline-Regular" pitchFamily="50" charset="0"/>
              </a:rPr>
              <a:t>AI Enabled Nova Chat</a:t>
            </a:r>
          </a:p>
          <a:p>
            <a:pPr algn="r"/>
            <a:r>
              <a:rPr lang="en-US" sz="2800" b="0" dirty="0">
                <a:latin typeface="Bree-SH-Headline-Regular" pitchFamily="50" charset="0"/>
              </a:rPr>
              <a:t>	</a:t>
            </a:r>
            <a:r>
              <a:rPr lang="en-US" sz="1000" dirty="0"/>
              <a:t>Revolutionizing Lab operations</a:t>
            </a:r>
            <a:endParaRPr lang="en-US" sz="2800" b="0" dirty="0">
              <a:latin typeface="Bree-SH-Headline-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809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9F055C5-D5FC-4806-8D8B-C9FA38CD05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367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9F055C5-D5FC-4806-8D8B-C9FA38CD05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09BDB0E-919E-43BD-81A6-87C4E7F376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grpSp>
        <p:nvGrpSpPr>
          <p:cNvPr id="58" name="Gruppieren 29" hidden="1">
            <a:extLst>
              <a:ext uri="{FF2B5EF4-FFF2-40B4-BE49-F238E27FC236}">
                <a16:creationId xmlns:a16="http://schemas.microsoft.com/office/drawing/2014/main" id="{297C6F23-3FA4-4D69-98BC-3104F423D84C}"/>
              </a:ext>
            </a:extLst>
          </p:cNvPr>
          <p:cNvGrpSpPr/>
          <p:nvPr/>
        </p:nvGrpSpPr>
        <p:grpSpPr>
          <a:xfrm>
            <a:off x="1305307" y="5365620"/>
            <a:ext cx="592126" cy="592891"/>
            <a:chOff x="1344994" y="5505490"/>
            <a:chExt cx="592126" cy="592891"/>
          </a:xfrm>
        </p:grpSpPr>
        <p:sp>
          <p:nvSpPr>
            <p:cNvPr id="109" name="Freihandform: Form 48">
              <a:extLst>
                <a:ext uri="{FF2B5EF4-FFF2-40B4-BE49-F238E27FC236}">
                  <a16:creationId xmlns:a16="http://schemas.microsoft.com/office/drawing/2014/main" id="{4C2A01D6-551F-46DD-B491-717F9A14EECF}"/>
                </a:ext>
              </a:extLst>
            </p:cNvPr>
            <p:cNvSpPr/>
            <p:nvPr/>
          </p:nvSpPr>
          <p:spPr>
            <a:xfrm>
              <a:off x="1344994" y="5505490"/>
              <a:ext cx="592126" cy="592891"/>
            </a:xfrm>
            <a:custGeom>
              <a:avLst/>
              <a:gdLst>
                <a:gd name="connsiteX0" fmla="*/ 315615 w 627156"/>
                <a:gd name="connsiteY0" fmla="*/ 625121 h 627156"/>
                <a:gd name="connsiteX1" fmla="*/ 625121 w 627156"/>
                <a:gd name="connsiteY1" fmla="*/ 315615 h 627156"/>
                <a:gd name="connsiteX2" fmla="*/ 315615 w 627156"/>
                <a:gd name="connsiteY2" fmla="*/ 6109 h 627156"/>
                <a:gd name="connsiteX3" fmla="*/ 6109 w 627156"/>
                <a:gd name="connsiteY3" fmla="*/ 315615 h 627156"/>
                <a:gd name="connsiteX4" fmla="*/ 315615 w 627156"/>
                <a:gd name="connsiteY4" fmla="*/ 625121 h 627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156" h="627156">
                  <a:moveTo>
                    <a:pt x="315615" y="625121"/>
                  </a:moveTo>
                  <a:cubicBezTo>
                    <a:pt x="486657" y="625121"/>
                    <a:pt x="625121" y="486657"/>
                    <a:pt x="625121" y="315615"/>
                  </a:cubicBezTo>
                  <a:cubicBezTo>
                    <a:pt x="625121" y="144572"/>
                    <a:pt x="486657" y="6109"/>
                    <a:pt x="315615" y="6109"/>
                  </a:cubicBezTo>
                  <a:cubicBezTo>
                    <a:pt x="144572" y="6109"/>
                    <a:pt x="6109" y="144572"/>
                    <a:pt x="6109" y="315615"/>
                  </a:cubicBezTo>
                  <a:cubicBezTo>
                    <a:pt x="6109" y="486657"/>
                    <a:pt x="144572" y="625121"/>
                    <a:pt x="315615" y="625121"/>
                  </a:cubicBezTo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ihandform: Form 49">
              <a:extLst>
                <a:ext uri="{FF2B5EF4-FFF2-40B4-BE49-F238E27FC236}">
                  <a16:creationId xmlns:a16="http://schemas.microsoft.com/office/drawing/2014/main" id="{F2E8835F-D55A-4F60-9497-A2F1BCBE3AE8}"/>
                </a:ext>
              </a:extLst>
            </p:cNvPr>
            <p:cNvSpPr/>
            <p:nvPr/>
          </p:nvSpPr>
          <p:spPr>
            <a:xfrm>
              <a:off x="1443423" y="5764977"/>
              <a:ext cx="399877" cy="92399"/>
            </a:xfrm>
            <a:custGeom>
              <a:avLst/>
              <a:gdLst>
                <a:gd name="connsiteX0" fmla="*/ 420684 w 423534"/>
                <a:gd name="connsiteY0" fmla="*/ 49277 h 97738"/>
                <a:gd name="connsiteX1" fmla="*/ 386475 w 423534"/>
                <a:gd name="connsiteY1" fmla="*/ 86743 h 97738"/>
                <a:gd name="connsiteX2" fmla="*/ 372629 w 423534"/>
                <a:gd name="connsiteY2" fmla="*/ 92445 h 97738"/>
                <a:gd name="connsiteX3" fmla="*/ 6109 w 423534"/>
                <a:gd name="connsiteY3" fmla="*/ 92445 h 97738"/>
                <a:gd name="connsiteX4" fmla="*/ 40317 w 423534"/>
                <a:gd name="connsiteY4" fmla="*/ 49277 h 97738"/>
                <a:gd name="connsiteX5" fmla="*/ 6109 w 423534"/>
                <a:gd name="connsiteY5" fmla="*/ 6109 h 97738"/>
                <a:gd name="connsiteX6" fmla="*/ 372629 w 423534"/>
                <a:gd name="connsiteY6" fmla="*/ 6109 h 97738"/>
                <a:gd name="connsiteX7" fmla="*/ 386475 w 423534"/>
                <a:gd name="connsiteY7" fmla="*/ 11810 h 97738"/>
                <a:gd name="connsiteX8" fmla="*/ 420684 w 423534"/>
                <a:gd name="connsiteY8" fmla="*/ 49277 h 9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3534" h="97738">
                  <a:moveTo>
                    <a:pt x="420684" y="49277"/>
                  </a:moveTo>
                  <a:cubicBezTo>
                    <a:pt x="420684" y="49277"/>
                    <a:pt x="387290" y="85929"/>
                    <a:pt x="386475" y="86743"/>
                  </a:cubicBezTo>
                  <a:cubicBezTo>
                    <a:pt x="383217" y="90816"/>
                    <a:pt x="379145" y="92445"/>
                    <a:pt x="372629" y="92445"/>
                  </a:cubicBezTo>
                  <a:lnTo>
                    <a:pt x="6109" y="92445"/>
                  </a:lnTo>
                  <a:lnTo>
                    <a:pt x="40317" y="49277"/>
                  </a:lnTo>
                  <a:lnTo>
                    <a:pt x="6109" y="6109"/>
                  </a:lnTo>
                  <a:lnTo>
                    <a:pt x="372629" y="6109"/>
                  </a:lnTo>
                  <a:cubicBezTo>
                    <a:pt x="379145" y="6109"/>
                    <a:pt x="383217" y="8552"/>
                    <a:pt x="386475" y="11810"/>
                  </a:cubicBezTo>
                  <a:cubicBezTo>
                    <a:pt x="387290" y="12625"/>
                    <a:pt x="420684" y="49277"/>
                    <a:pt x="420684" y="49277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ihandform: Form 50">
              <a:extLst>
                <a:ext uri="{FF2B5EF4-FFF2-40B4-BE49-F238E27FC236}">
                  <a16:creationId xmlns:a16="http://schemas.microsoft.com/office/drawing/2014/main" id="{130EA4E2-4542-476C-BFD8-E7D5217BA35F}"/>
                </a:ext>
              </a:extLst>
            </p:cNvPr>
            <p:cNvSpPr/>
            <p:nvPr/>
          </p:nvSpPr>
          <p:spPr>
            <a:xfrm>
              <a:off x="1477261" y="5602508"/>
              <a:ext cx="330667" cy="369594"/>
            </a:xfrm>
            <a:custGeom>
              <a:avLst/>
              <a:gdLst>
                <a:gd name="connsiteX0" fmla="*/ 212989 w 350230"/>
                <a:gd name="connsiteY0" fmla="*/ 327832 h 390954"/>
                <a:gd name="connsiteX1" fmla="*/ 212989 w 350230"/>
                <a:gd name="connsiteY1" fmla="*/ 373443 h 390954"/>
                <a:gd name="connsiteX2" fmla="*/ 201586 w 350230"/>
                <a:gd name="connsiteY2" fmla="*/ 384846 h 390954"/>
                <a:gd name="connsiteX3" fmla="*/ 155975 w 350230"/>
                <a:gd name="connsiteY3" fmla="*/ 384846 h 390954"/>
                <a:gd name="connsiteX4" fmla="*/ 144572 w 350230"/>
                <a:gd name="connsiteY4" fmla="*/ 373443 h 390954"/>
                <a:gd name="connsiteX5" fmla="*/ 144572 w 350230"/>
                <a:gd name="connsiteY5" fmla="*/ 327832 h 390954"/>
                <a:gd name="connsiteX6" fmla="*/ 155975 w 350230"/>
                <a:gd name="connsiteY6" fmla="*/ 316429 h 390954"/>
                <a:gd name="connsiteX7" fmla="*/ 170635 w 350230"/>
                <a:gd name="connsiteY7" fmla="*/ 316429 h 390954"/>
                <a:gd name="connsiteX8" fmla="*/ 170635 w 350230"/>
                <a:gd name="connsiteY8" fmla="*/ 282221 h 390954"/>
                <a:gd name="connsiteX9" fmla="*/ 187740 w 350230"/>
                <a:gd name="connsiteY9" fmla="*/ 282221 h 390954"/>
                <a:gd name="connsiteX10" fmla="*/ 187740 w 350230"/>
                <a:gd name="connsiteY10" fmla="*/ 316429 h 390954"/>
                <a:gd name="connsiteX11" fmla="*/ 202401 w 350230"/>
                <a:gd name="connsiteY11" fmla="*/ 316429 h 390954"/>
                <a:gd name="connsiteX12" fmla="*/ 212989 w 350230"/>
                <a:gd name="connsiteY12" fmla="*/ 327832 h 390954"/>
                <a:gd name="connsiteX13" fmla="*/ 350638 w 350230"/>
                <a:gd name="connsiteY13" fmla="*/ 327832 h 390954"/>
                <a:gd name="connsiteX14" fmla="*/ 350638 w 350230"/>
                <a:gd name="connsiteY14" fmla="*/ 373443 h 390954"/>
                <a:gd name="connsiteX15" fmla="*/ 339235 w 350230"/>
                <a:gd name="connsiteY15" fmla="*/ 384846 h 390954"/>
                <a:gd name="connsiteX16" fmla="*/ 293623 w 350230"/>
                <a:gd name="connsiteY16" fmla="*/ 384846 h 390954"/>
                <a:gd name="connsiteX17" fmla="*/ 282220 w 350230"/>
                <a:gd name="connsiteY17" fmla="*/ 373443 h 390954"/>
                <a:gd name="connsiteX18" fmla="*/ 282220 w 350230"/>
                <a:gd name="connsiteY18" fmla="*/ 327832 h 390954"/>
                <a:gd name="connsiteX19" fmla="*/ 293623 w 350230"/>
                <a:gd name="connsiteY19" fmla="*/ 316429 h 390954"/>
                <a:gd name="connsiteX20" fmla="*/ 308284 w 350230"/>
                <a:gd name="connsiteY20" fmla="*/ 316429 h 390954"/>
                <a:gd name="connsiteX21" fmla="*/ 308284 w 350230"/>
                <a:gd name="connsiteY21" fmla="*/ 282221 h 390954"/>
                <a:gd name="connsiteX22" fmla="*/ 325388 w 350230"/>
                <a:gd name="connsiteY22" fmla="*/ 282221 h 390954"/>
                <a:gd name="connsiteX23" fmla="*/ 325388 w 350230"/>
                <a:gd name="connsiteY23" fmla="*/ 316429 h 390954"/>
                <a:gd name="connsiteX24" fmla="*/ 340049 w 350230"/>
                <a:gd name="connsiteY24" fmla="*/ 316429 h 390954"/>
                <a:gd name="connsiteX25" fmla="*/ 350638 w 350230"/>
                <a:gd name="connsiteY25" fmla="*/ 327832 h 390954"/>
                <a:gd name="connsiteX26" fmla="*/ 74526 w 350230"/>
                <a:gd name="connsiteY26" fmla="*/ 327832 h 390954"/>
                <a:gd name="connsiteX27" fmla="*/ 74526 w 350230"/>
                <a:gd name="connsiteY27" fmla="*/ 373443 h 390954"/>
                <a:gd name="connsiteX28" fmla="*/ 63123 w 350230"/>
                <a:gd name="connsiteY28" fmla="*/ 384846 h 390954"/>
                <a:gd name="connsiteX29" fmla="*/ 17511 w 350230"/>
                <a:gd name="connsiteY29" fmla="*/ 384846 h 390954"/>
                <a:gd name="connsiteX30" fmla="*/ 6109 w 350230"/>
                <a:gd name="connsiteY30" fmla="*/ 373443 h 390954"/>
                <a:gd name="connsiteX31" fmla="*/ 6109 w 350230"/>
                <a:gd name="connsiteY31" fmla="*/ 327832 h 390954"/>
                <a:gd name="connsiteX32" fmla="*/ 17511 w 350230"/>
                <a:gd name="connsiteY32" fmla="*/ 316429 h 390954"/>
                <a:gd name="connsiteX33" fmla="*/ 32172 w 350230"/>
                <a:gd name="connsiteY33" fmla="*/ 316429 h 390954"/>
                <a:gd name="connsiteX34" fmla="*/ 32172 w 350230"/>
                <a:gd name="connsiteY34" fmla="*/ 282221 h 390954"/>
                <a:gd name="connsiteX35" fmla="*/ 49277 w 350230"/>
                <a:gd name="connsiteY35" fmla="*/ 282221 h 390954"/>
                <a:gd name="connsiteX36" fmla="*/ 49277 w 350230"/>
                <a:gd name="connsiteY36" fmla="*/ 316429 h 390954"/>
                <a:gd name="connsiteX37" fmla="*/ 63937 w 350230"/>
                <a:gd name="connsiteY37" fmla="*/ 316429 h 390954"/>
                <a:gd name="connsiteX38" fmla="*/ 74526 w 350230"/>
                <a:gd name="connsiteY38" fmla="*/ 327832 h 390954"/>
                <a:gd name="connsiteX39" fmla="*/ 213803 w 350230"/>
                <a:gd name="connsiteY39" fmla="*/ 108734 h 390954"/>
                <a:gd name="connsiteX40" fmla="*/ 190998 w 350230"/>
                <a:gd name="connsiteY40" fmla="*/ 108734 h 390954"/>
                <a:gd name="connsiteX41" fmla="*/ 190998 w 350230"/>
                <a:gd name="connsiteY41" fmla="*/ 75340 h 390954"/>
                <a:gd name="connsiteX42" fmla="*/ 164120 w 350230"/>
                <a:gd name="connsiteY42" fmla="*/ 75340 h 390954"/>
                <a:gd name="connsiteX43" fmla="*/ 164120 w 350230"/>
                <a:gd name="connsiteY43" fmla="*/ 108734 h 390954"/>
                <a:gd name="connsiteX44" fmla="*/ 142128 w 350230"/>
                <a:gd name="connsiteY44" fmla="*/ 108734 h 390954"/>
                <a:gd name="connsiteX45" fmla="*/ 142128 w 350230"/>
                <a:gd name="connsiteY45" fmla="*/ 22398 h 390954"/>
                <a:gd name="connsiteX46" fmla="*/ 164120 w 350230"/>
                <a:gd name="connsiteY46" fmla="*/ 22398 h 390954"/>
                <a:gd name="connsiteX47" fmla="*/ 164120 w 350230"/>
                <a:gd name="connsiteY47" fmla="*/ 55793 h 390954"/>
                <a:gd name="connsiteX48" fmla="*/ 190998 w 350230"/>
                <a:gd name="connsiteY48" fmla="*/ 55793 h 390954"/>
                <a:gd name="connsiteX49" fmla="*/ 190998 w 350230"/>
                <a:gd name="connsiteY49" fmla="*/ 22398 h 390954"/>
                <a:gd name="connsiteX50" fmla="*/ 213803 w 350230"/>
                <a:gd name="connsiteY50" fmla="*/ 22398 h 390954"/>
                <a:gd name="connsiteX51" fmla="*/ 213803 w 350230"/>
                <a:gd name="connsiteY51" fmla="*/ 108734 h 390954"/>
                <a:gd name="connsiteX52" fmla="*/ 238238 w 350230"/>
                <a:gd name="connsiteY52" fmla="*/ 74526 h 390954"/>
                <a:gd name="connsiteX53" fmla="*/ 238238 w 350230"/>
                <a:gd name="connsiteY53" fmla="*/ 24027 h 390954"/>
                <a:gd name="connsiteX54" fmla="*/ 233351 w 350230"/>
                <a:gd name="connsiteY54" fmla="*/ 10996 h 390954"/>
                <a:gd name="connsiteX55" fmla="*/ 220319 w 350230"/>
                <a:gd name="connsiteY55" fmla="*/ 6109 h 390954"/>
                <a:gd name="connsiteX56" fmla="*/ 135612 w 350230"/>
                <a:gd name="connsiteY56" fmla="*/ 6109 h 390954"/>
                <a:gd name="connsiteX57" fmla="*/ 122581 w 350230"/>
                <a:gd name="connsiteY57" fmla="*/ 10996 h 390954"/>
                <a:gd name="connsiteX58" fmla="*/ 117694 w 350230"/>
                <a:gd name="connsiteY58" fmla="*/ 24027 h 390954"/>
                <a:gd name="connsiteX59" fmla="*/ 117694 w 350230"/>
                <a:gd name="connsiteY59" fmla="*/ 75340 h 390954"/>
                <a:gd name="connsiteX60" fmla="*/ 31358 w 350230"/>
                <a:gd name="connsiteY60" fmla="*/ 75340 h 390954"/>
                <a:gd name="connsiteX61" fmla="*/ 31358 w 350230"/>
                <a:gd name="connsiteY61" fmla="*/ 161676 h 390954"/>
                <a:gd name="connsiteX62" fmla="*/ 48462 w 350230"/>
                <a:gd name="connsiteY62" fmla="*/ 161676 h 390954"/>
                <a:gd name="connsiteX63" fmla="*/ 48462 w 350230"/>
                <a:gd name="connsiteY63" fmla="*/ 92445 h 390954"/>
                <a:gd name="connsiteX64" fmla="*/ 117694 w 350230"/>
                <a:gd name="connsiteY64" fmla="*/ 92445 h 390954"/>
                <a:gd name="connsiteX65" fmla="*/ 117694 w 350230"/>
                <a:gd name="connsiteY65" fmla="*/ 108734 h 390954"/>
                <a:gd name="connsiteX66" fmla="*/ 122581 w 350230"/>
                <a:gd name="connsiteY66" fmla="*/ 121766 h 390954"/>
                <a:gd name="connsiteX67" fmla="*/ 135612 w 350230"/>
                <a:gd name="connsiteY67" fmla="*/ 126653 h 390954"/>
                <a:gd name="connsiteX68" fmla="*/ 169007 w 350230"/>
                <a:gd name="connsiteY68" fmla="*/ 126653 h 390954"/>
                <a:gd name="connsiteX69" fmla="*/ 169007 w 350230"/>
                <a:gd name="connsiteY69" fmla="*/ 160862 h 390954"/>
                <a:gd name="connsiteX70" fmla="*/ 186111 w 350230"/>
                <a:gd name="connsiteY70" fmla="*/ 160862 h 390954"/>
                <a:gd name="connsiteX71" fmla="*/ 186111 w 350230"/>
                <a:gd name="connsiteY71" fmla="*/ 126653 h 390954"/>
                <a:gd name="connsiteX72" fmla="*/ 219505 w 350230"/>
                <a:gd name="connsiteY72" fmla="*/ 126653 h 390954"/>
                <a:gd name="connsiteX73" fmla="*/ 232537 w 350230"/>
                <a:gd name="connsiteY73" fmla="*/ 121766 h 390954"/>
                <a:gd name="connsiteX74" fmla="*/ 237424 w 350230"/>
                <a:gd name="connsiteY74" fmla="*/ 108734 h 390954"/>
                <a:gd name="connsiteX75" fmla="*/ 237424 w 350230"/>
                <a:gd name="connsiteY75" fmla="*/ 92445 h 390954"/>
                <a:gd name="connsiteX76" fmla="*/ 306655 w 350230"/>
                <a:gd name="connsiteY76" fmla="*/ 92445 h 390954"/>
                <a:gd name="connsiteX77" fmla="*/ 306655 w 350230"/>
                <a:gd name="connsiteY77" fmla="*/ 161676 h 390954"/>
                <a:gd name="connsiteX78" fmla="*/ 323759 w 350230"/>
                <a:gd name="connsiteY78" fmla="*/ 161676 h 390954"/>
                <a:gd name="connsiteX79" fmla="*/ 323759 w 350230"/>
                <a:gd name="connsiteY79" fmla="*/ 74526 h 390954"/>
                <a:gd name="connsiteX80" fmla="*/ 238238 w 350230"/>
                <a:gd name="connsiteY80" fmla="*/ 74526 h 39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50230" h="390954">
                  <a:moveTo>
                    <a:pt x="212989" y="327832"/>
                  </a:moveTo>
                  <a:lnTo>
                    <a:pt x="212989" y="373443"/>
                  </a:lnTo>
                  <a:cubicBezTo>
                    <a:pt x="212989" y="379959"/>
                    <a:pt x="208102" y="384846"/>
                    <a:pt x="201586" y="384846"/>
                  </a:cubicBezTo>
                  <a:lnTo>
                    <a:pt x="155975" y="384846"/>
                  </a:lnTo>
                  <a:cubicBezTo>
                    <a:pt x="149459" y="384846"/>
                    <a:pt x="144572" y="379959"/>
                    <a:pt x="144572" y="373443"/>
                  </a:cubicBezTo>
                  <a:lnTo>
                    <a:pt x="144572" y="327832"/>
                  </a:lnTo>
                  <a:cubicBezTo>
                    <a:pt x="144572" y="321316"/>
                    <a:pt x="149459" y="316429"/>
                    <a:pt x="155975" y="316429"/>
                  </a:cubicBezTo>
                  <a:lnTo>
                    <a:pt x="170635" y="316429"/>
                  </a:lnTo>
                  <a:lnTo>
                    <a:pt x="170635" y="282221"/>
                  </a:lnTo>
                  <a:lnTo>
                    <a:pt x="187740" y="282221"/>
                  </a:lnTo>
                  <a:lnTo>
                    <a:pt x="187740" y="316429"/>
                  </a:lnTo>
                  <a:lnTo>
                    <a:pt x="202401" y="316429"/>
                  </a:lnTo>
                  <a:cubicBezTo>
                    <a:pt x="207287" y="315615"/>
                    <a:pt x="212989" y="321316"/>
                    <a:pt x="212989" y="327832"/>
                  </a:cubicBezTo>
                  <a:moveTo>
                    <a:pt x="350638" y="327832"/>
                  </a:moveTo>
                  <a:lnTo>
                    <a:pt x="350638" y="373443"/>
                  </a:lnTo>
                  <a:cubicBezTo>
                    <a:pt x="350638" y="379959"/>
                    <a:pt x="345751" y="384846"/>
                    <a:pt x="339235" y="384846"/>
                  </a:cubicBezTo>
                  <a:lnTo>
                    <a:pt x="293623" y="384846"/>
                  </a:lnTo>
                  <a:cubicBezTo>
                    <a:pt x="287107" y="384846"/>
                    <a:pt x="282220" y="379959"/>
                    <a:pt x="282220" y="373443"/>
                  </a:cubicBezTo>
                  <a:lnTo>
                    <a:pt x="282220" y="327832"/>
                  </a:lnTo>
                  <a:cubicBezTo>
                    <a:pt x="282220" y="321316"/>
                    <a:pt x="287107" y="316429"/>
                    <a:pt x="293623" y="316429"/>
                  </a:cubicBezTo>
                  <a:lnTo>
                    <a:pt x="308284" y="316429"/>
                  </a:lnTo>
                  <a:lnTo>
                    <a:pt x="308284" y="282221"/>
                  </a:lnTo>
                  <a:lnTo>
                    <a:pt x="325388" y="282221"/>
                  </a:lnTo>
                  <a:lnTo>
                    <a:pt x="325388" y="316429"/>
                  </a:lnTo>
                  <a:lnTo>
                    <a:pt x="340049" y="316429"/>
                  </a:lnTo>
                  <a:cubicBezTo>
                    <a:pt x="345751" y="315615"/>
                    <a:pt x="350638" y="321316"/>
                    <a:pt x="350638" y="327832"/>
                  </a:cubicBezTo>
                  <a:moveTo>
                    <a:pt x="74526" y="327832"/>
                  </a:moveTo>
                  <a:lnTo>
                    <a:pt x="74526" y="373443"/>
                  </a:lnTo>
                  <a:cubicBezTo>
                    <a:pt x="74526" y="379959"/>
                    <a:pt x="69639" y="384846"/>
                    <a:pt x="63123" y="384846"/>
                  </a:cubicBezTo>
                  <a:lnTo>
                    <a:pt x="17511" y="384846"/>
                  </a:lnTo>
                  <a:cubicBezTo>
                    <a:pt x="10996" y="384846"/>
                    <a:pt x="6109" y="379959"/>
                    <a:pt x="6109" y="373443"/>
                  </a:cubicBezTo>
                  <a:lnTo>
                    <a:pt x="6109" y="327832"/>
                  </a:lnTo>
                  <a:cubicBezTo>
                    <a:pt x="6109" y="321316"/>
                    <a:pt x="10996" y="316429"/>
                    <a:pt x="17511" y="316429"/>
                  </a:cubicBezTo>
                  <a:lnTo>
                    <a:pt x="32172" y="316429"/>
                  </a:lnTo>
                  <a:lnTo>
                    <a:pt x="32172" y="282221"/>
                  </a:lnTo>
                  <a:lnTo>
                    <a:pt x="49277" y="282221"/>
                  </a:lnTo>
                  <a:lnTo>
                    <a:pt x="49277" y="316429"/>
                  </a:lnTo>
                  <a:lnTo>
                    <a:pt x="63937" y="316429"/>
                  </a:lnTo>
                  <a:cubicBezTo>
                    <a:pt x="69639" y="315615"/>
                    <a:pt x="74526" y="321316"/>
                    <a:pt x="74526" y="327832"/>
                  </a:cubicBezTo>
                  <a:moveTo>
                    <a:pt x="213803" y="108734"/>
                  </a:moveTo>
                  <a:lnTo>
                    <a:pt x="190998" y="108734"/>
                  </a:lnTo>
                  <a:lnTo>
                    <a:pt x="190998" y="75340"/>
                  </a:lnTo>
                  <a:lnTo>
                    <a:pt x="164120" y="75340"/>
                  </a:lnTo>
                  <a:lnTo>
                    <a:pt x="164120" y="108734"/>
                  </a:lnTo>
                  <a:lnTo>
                    <a:pt x="142128" y="108734"/>
                  </a:lnTo>
                  <a:lnTo>
                    <a:pt x="142128" y="22398"/>
                  </a:lnTo>
                  <a:lnTo>
                    <a:pt x="164120" y="22398"/>
                  </a:lnTo>
                  <a:lnTo>
                    <a:pt x="164120" y="55793"/>
                  </a:lnTo>
                  <a:lnTo>
                    <a:pt x="190998" y="55793"/>
                  </a:lnTo>
                  <a:lnTo>
                    <a:pt x="190998" y="22398"/>
                  </a:lnTo>
                  <a:lnTo>
                    <a:pt x="213803" y="22398"/>
                  </a:lnTo>
                  <a:lnTo>
                    <a:pt x="213803" y="108734"/>
                  </a:lnTo>
                  <a:close/>
                  <a:moveTo>
                    <a:pt x="238238" y="74526"/>
                  </a:moveTo>
                  <a:lnTo>
                    <a:pt x="238238" y="24027"/>
                  </a:lnTo>
                  <a:cubicBezTo>
                    <a:pt x="238238" y="19140"/>
                    <a:pt x="236609" y="15068"/>
                    <a:pt x="233351" y="10996"/>
                  </a:cubicBezTo>
                  <a:cubicBezTo>
                    <a:pt x="230093" y="7738"/>
                    <a:pt x="225206" y="6109"/>
                    <a:pt x="220319" y="6109"/>
                  </a:cubicBezTo>
                  <a:lnTo>
                    <a:pt x="135612" y="6109"/>
                  </a:lnTo>
                  <a:cubicBezTo>
                    <a:pt x="130726" y="6109"/>
                    <a:pt x="126653" y="7738"/>
                    <a:pt x="122581" y="10996"/>
                  </a:cubicBezTo>
                  <a:cubicBezTo>
                    <a:pt x="119323" y="14254"/>
                    <a:pt x="117694" y="19140"/>
                    <a:pt x="117694" y="24027"/>
                  </a:cubicBezTo>
                  <a:lnTo>
                    <a:pt x="117694" y="75340"/>
                  </a:lnTo>
                  <a:lnTo>
                    <a:pt x="31358" y="75340"/>
                  </a:lnTo>
                  <a:lnTo>
                    <a:pt x="31358" y="161676"/>
                  </a:lnTo>
                  <a:lnTo>
                    <a:pt x="48462" y="161676"/>
                  </a:lnTo>
                  <a:lnTo>
                    <a:pt x="48462" y="92445"/>
                  </a:lnTo>
                  <a:lnTo>
                    <a:pt x="117694" y="92445"/>
                  </a:lnTo>
                  <a:lnTo>
                    <a:pt x="117694" y="108734"/>
                  </a:lnTo>
                  <a:cubicBezTo>
                    <a:pt x="117694" y="113621"/>
                    <a:pt x="119323" y="117694"/>
                    <a:pt x="122581" y="121766"/>
                  </a:cubicBezTo>
                  <a:cubicBezTo>
                    <a:pt x="125839" y="125024"/>
                    <a:pt x="130726" y="126653"/>
                    <a:pt x="135612" y="126653"/>
                  </a:cubicBezTo>
                  <a:lnTo>
                    <a:pt x="169007" y="126653"/>
                  </a:lnTo>
                  <a:lnTo>
                    <a:pt x="169007" y="160862"/>
                  </a:lnTo>
                  <a:lnTo>
                    <a:pt x="186111" y="160862"/>
                  </a:lnTo>
                  <a:lnTo>
                    <a:pt x="186111" y="126653"/>
                  </a:lnTo>
                  <a:lnTo>
                    <a:pt x="219505" y="126653"/>
                  </a:lnTo>
                  <a:cubicBezTo>
                    <a:pt x="224392" y="126653"/>
                    <a:pt x="228464" y="125024"/>
                    <a:pt x="232537" y="121766"/>
                  </a:cubicBezTo>
                  <a:cubicBezTo>
                    <a:pt x="235795" y="118508"/>
                    <a:pt x="237424" y="113621"/>
                    <a:pt x="237424" y="108734"/>
                  </a:cubicBezTo>
                  <a:lnTo>
                    <a:pt x="237424" y="92445"/>
                  </a:lnTo>
                  <a:lnTo>
                    <a:pt x="306655" y="92445"/>
                  </a:lnTo>
                  <a:lnTo>
                    <a:pt x="306655" y="161676"/>
                  </a:lnTo>
                  <a:lnTo>
                    <a:pt x="323759" y="161676"/>
                  </a:lnTo>
                  <a:lnTo>
                    <a:pt x="323759" y="74526"/>
                  </a:lnTo>
                  <a:lnTo>
                    <a:pt x="238238" y="74526"/>
                  </a:lnTo>
                  <a:close/>
                </a:path>
              </a:pathLst>
            </a:custGeom>
            <a:solidFill>
              <a:srgbClr val="F9B5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0" name="Gruppieren 11" hidden="1">
            <a:extLst>
              <a:ext uri="{FF2B5EF4-FFF2-40B4-BE49-F238E27FC236}">
                <a16:creationId xmlns:a16="http://schemas.microsoft.com/office/drawing/2014/main" id="{23DB1103-8E30-4572-A405-E5B53B0313E2}"/>
              </a:ext>
            </a:extLst>
          </p:cNvPr>
          <p:cNvGrpSpPr/>
          <p:nvPr/>
        </p:nvGrpSpPr>
        <p:grpSpPr>
          <a:xfrm>
            <a:off x="647700" y="5364850"/>
            <a:ext cx="593664" cy="593665"/>
            <a:chOff x="687387" y="5504720"/>
            <a:chExt cx="593664" cy="593665"/>
          </a:xfrm>
        </p:grpSpPr>
        <p:sp>
          <p:nvSpPr>
            <p:cNvPr id="90" name="Freihandform: Form 52">
              <a:extLst>
                <a:ext uri="{FF2B5EF4-FFF2-40B4-BE49-F238E27FC236}">
                  <a16:creationId xmlns:a16="http://schemas.microsoft.com/office/drawing/2014/main" id="{875A7CBF-897D-4627-A8B2-DA99C7C45691}"/>
                </a:ext>
              </a:extLst>
            </p:cNvPr>
            <p:cNvSpPr/>
            <p:nvPr/>
          </p:nvSpPr>
          <p:spPr>
            <a:xfrm>
              <a:off x="687387" y="5504720"/>
              <a:ext cx="593664" cy="593665"/>
            </a:xfrm>
            <a:custGeom>
              <a:avLst/>
              <a:gdLst>
                <a:gd name="connsiteX0" fmla="*/ 731044 w 733425"/>
                <a:gd name="connsiteY0" fmla="*/ 369094 h 733425"/>
                <a:gd name="connsiteX1" fmla="*/ 369094 w 733425"/>
                <a:gd name="connsiteY1" fmla="*/ 731044 h 733425"/>
                <a:gd name="connsiteX2" fmla="*/ 7144 w 733425"/>
                <a:gd name="connsiteY2" fmla="*/ 369094 h 733425"/>
                <a:gd name="connsiteX3" fmla="*/ 369094 w 733425"/>
                <a:gd name="connsiteY3" fmla="*/ 7144 h 733425"/>
                <a:gd name="connsiteX4" fmla="*/ 731044 w 733425"/>
                <a:gd name="connsiteY4" fmla="*/ 369094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425" h="733425">
                  <a:moveTo>
                    <a:pt x="731044" y="369094"/>
                  </a:moveTo>
                  <a:cubicBezTo>
                    <a:pt x="731044" y="569119"/>
                    <a:pt x="569119" y="731044"/>
                    <a:pt x="369094" y="731044"/>
                  </a:cubicBezTo>
                  <a:cubicBezTo>
                    <a:pt x="169069" y="731044"/>
                    <a:pt x="7144" y="569119"/>
                    <a:pt x="7144" y="369094"/>
                  </a:cubicBezTo>
                  <a:cubicBezTo>
                    <a:pt x="7144" y="169069"/>
                    <a:pt x="169069" y="7144"/>
                    <a:pt x="369094" y="7144"/>
                  </a:cubicBezTo>
                  <a:cubicBezTo>
                    <a:pt x="569119" y="7144"/>
                    <a:pt x="731044" y="169069"/>
                    <a:pt x="731044" y="36909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1" name="Gruppieren 9">
              <a:extLst>
                <a:ext uri="{FF2B5EF4-FFF2-40B4-BE49-F238E27FC236}">
                  <a16:creationId xmlns:a16="http://schemas.microsoft.com/office/drawing/2014/main" id="{71D94784-D28B-4A79-95F6-8810F62AB7B1}"/>
                </a:ext>
              </a:extLst>
            </p:cNvPr>
            <p:cNvGrpSpPr/>
            <p:nvPr/>
          </p:nvGrpSpPr>
          <p:grpSpPr>
            <a:xfrm>
              <a:off x="809499" y="5584903"/>
              <a:ext cx="346651" cy="417404"/>
              <a:chOff x="809499" y="5584903"/>
              <a:chExt cx="346651" cy="417404"/>
            </a:xfrm>
            <a:solidFill>
              <a:schemeClr val="tx2"/>
            </a:solidFill>
          </p:grpSpPr>
          <p:sp>
            <p:nvSpPr>
              <p:cNvPr id="93" name="Freihandform: Form 53">
                <a:extLst>
                  <a:ext uri="{FF2B5EF4-FFF2-40B4-BE49-F238E27FC236}">
                    <a16:creationId xmlns:a16="http://schemas.microsoft.com/office/drawing/2014/main" id="{64FD09EA-2E64-4356-8A08-3052150BB5C7}"/>
                  </a:ext>
                </a:extLst>
              </p:cNvPr>
              <p:cNvSpPr/>
              <p:nvPr/>
            </p:nvSpPr>
            <p:spPr>
              <a:xfrm>
                <a:off x="1007349" y="5619598"/>
                <a:ext cx="131069" cy="138779"/>
              </a:xfrm>
              <a:custGeom>
                <a:avLst/>
                <a:gdLst>
                  <a:gd name="connsiteX0" fmla="*/ 7144 w 161925"/>
                  <a:gd name="connsiteY0" fmla="*/ 7144 h 171450"/>
                  <a:gd name="connsiteX1" fmla="*/ 16669 w 161925"/>
                  <a:gd name="connsiteY1" fmla="*/ 29051 h 171450"/>
                  <a:gd name="connsiteX2" fmla="*/ 135731 w 161925"/>
                  <a:gd name="connsiteY2" fmla="*/ 150971 h 171450"/>
                  <a:gd name="connsiteX3" fmla="*/ 138589 w 161925"/>
                  <a:gd name="connsiteY3" fmla="*/ 160496 h 171450"/>
                  <a:gd name="connsiteX4" fmla="*/ 150971 w 161925"/>
                  <a:gd name="connsiteY4" fmla="*/ 167164 h 171450"/>
                  <a:gd name="connsiteX5" fmla="*/ 157639 w 161925"/>
                  <a:gd name="connsiteY5" fmla="*/ 154781 h 171450"/>
                  <a:gd name="connsiteX6" fmla="*/ 154781 w 161925"/>
                  <a:gd name="connsiteY6" fmla="*/ 145256 h 171450"/>
                  <a:gd name="connsiteX7" fmla="*/ 7144 w 161925"/>
                  <a:gd name="connsiteY7" fmla="*/ 7144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925" h="171450">
                    <a:moveTo>
                      <a:pt x="7144" y="7144"/>
                    </a:moveTo>
                    <a:cubicBezTo>
                      <a:pt x="11906" y="12859"/>
                      <a:pt x="15716" y="20479"/>
                      <a:pt x="16669" y="29051"/>
                    </a:cubicBezTo>
                    <a:cubicBezTo>
                      <a:pt x="90964" y="44291"/>
                      <a:pt x="124301" y="116681"/>
                      <a:pt x="135731" y="150971"/>
                    </a:cubicBezTo>
                    <a:lnTo>
                      <a:pt x="138589" y="160496"/>
                    </a:lnTo>
                    <a:cubicBezTo>
                      <a:pt x="140494" y="166211"/>
                      <a:pt x="146209" y="168116"/>
                      <a:pt x="150971" y="167164"/>
                    </a:cubicBezTo>
                    <a:cubicBezTo>
                      <a:pt x="155734" y="165259"/>
                      <a:pt x="158591" y="159544"/>
                      <a:pt x="157639" y="154781"/>
                    </a:cubicBezTo>
                    <a:lnTo>
                      <a:pt x="154781" y="145256"/>
                    </a:lnTo>
                    <a:cubicBezTo>
                      <a:pt x="118586" y="37624"/>
                      <a:pt x="49054" y="11906"/>
                      <a:pt x="7144" y="714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Freihandform: Form 54">
                <a:extLst>
                  <a:ext uri="{FF2B5EF4-FFF2-40B4-BE49-F238E27FC236}">
                    <a16:creationId xmlns:a16="http://schemas.microsoft.com/office/drawing/2014/main" id="{F264F66B-DC26-4E74-89F4-EEBA276FF423}"/>
                  </a:ext>
                </a:extLst>
              </p:cNvPr>
              <p:cNvSpPr/>
              <p:nvPr/>
            </p:nvSpPr>
            <p:spPr>
              <a:xfrm>
                <a:off x="1063631" y="5687446"/>
                <a:ext cx="92519" cy="115649"/>
              </a:xfrm>
              <a:custGeom>
                <a:avLst/>
                <a:gdLst>
                  <a:gd name="connsiteX0" fmla="*/ 48101 w 114300"/>
                  <a:gd name="connsiteY0" fmla="*/ 74771 h 142875"/>
                  <a:gd name="connsiteX1" fmla="*/ 11906 w 114300"/>
                  <a:gd name="connsiteY1" fmla="*/ 7144 h 142875"/>
                  <a:gd name="connsiteX2" fmla="*/ 12859 w 114300"/>
                  <a:gd name="connsiteY2" fmla="*/ 14764 h 142875"/>
                  <a:gd name="connsiteX3" fmla="*/ 7144 w 114300"/>
                  <a:gd name="connsiteY3" fmla="*/ 34766 h 142875"/>
                  <a:gd name="connsiteX4" fmla="*/ 29051 w 114300"/>
                  <a:gd name="connsiteY4" fmla="*/ 81439 h 142875"/>
                  <a:gd name="connsiteX5" fmla="*/ 95726 w 114300"/>
                  <a:gd name="connsiteY5" fmla="*/ 143351 h 142875"/>
                  <a:gd name="connsiteX6" fmla="*/ 107156 w 114300"/>
                  <a:gd name="connsiteY6" fmla="*/ 134779 h 142875"/>
                  <a:gd name="connsiteX7" fmla="*/ 98584 w 114300"/>
                  <a:gd name="connsiteY7" fmla="*/ 123349 h 142875"/>
                  <a:gd name="connsiteX8" fmla="*/ 48101 w 114300"/>
                  <a:gd name="connsiteY8" fmla="*/ 74771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142875">
                    <a:moveTo>
                      <a:pt x="48101" y="74771"/>
                    </a:moveTo>
                    <a:cubicBezTo>
                      <a:pt x="38576" y="45244"/>
                      <a:pt x="25241" y="23336"/>
                      <a:pt x="11906" y="7144"/>
                    </a:cubicBezTo>
                    <a:cubicBezTo>
                      <a:pt x="11906" y="9049"/>
                      <a:pt x="12859" y="11906"/>
                      <a:pt x="12859" y="14764"/>
                    </a:cubicBezTo>
                    <a:cubicBezTo>
                      <a:pt x="12859" y="22384"/>
                      <a:pt x="10954" y="29051"/>
                      <a:pt x="7144" y="34766"/>
                    </a:cubicBezTo>
                    <a:cubicBezTo>
                      <a:pt x="17621" y="50959"/>
                      <a:pt x="24289" y="68104"/>
                      <a:pt x="29051" y="81439"/>
                    </a:cubicBezTo>
                    <a:cubicBezTo>
                      <a:pt x="39529" y="112871"/>
                      <a:pt x="67151" y="139541"/>
                      <a:pt x="95726" y="143351"/>
                    </a:cubicBezTo>
                    <a:cubicBezTo>
                      <a:pt x="101441" y="144304"/>
                      <a:pt x="106204" y="140494"/>
                      <a:pt x="107156" y="134779"/>
                    </a:cubicBezTo>
                    <a:cubicBezTo>
                      <a:pt x="108109" y="129064"/>
                      <a:pt x="104299" y="124301"/>
                      <a:pt x="98584" y="123349"/>
                    </a:cubicBezTo>
                    <a:cubicBezTo>
                      <a:pt x="77629" y="119539"/>
                      <a:pt x="55721" y="99536"/>
                      <a:pt x="48101" y="74771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Freihandform: Form 55">
                <a:extLst>
                  <a:ext uri="{FF2B5EF4-FFF2-40B4-BE49-F238E27FC236}">
                    <a16:creationId xmlns:a16="http://schemas.microsoft.com/office/drawing/2014/main" id="{67D37432-C84B-44D4-BA0A-8FF5DF4F028D}"/>
                  </a:ext>
                </a:extLst>
              </p:cNvPr>
              <p:cNvSpPr/>
              <p:nvPr/>
            </p:nvSpPr>
            <p:spPr>
              <a:xfrm>
                <a:off x="809499" y="5584903"/>
                <a:ext cx="300687" cy="200458"/>
              </a:xfrm>
              <a:custGeom>
                <a:avLst/>
                <a:gdLst>
                  <a:gd name="connsiteX0" fmla="*/ 35354 w 371475"/>
                  <a:gd name="connsiteY0" fmla="*/ 203359 h 247650"/>
                  <a:gd name="connsiteX1" fmla="*/ 92504 w 371475"/>
                  <a:gd name="connsiteY1" fmla="*/ 83344 h 247650"/>
                  <a:gd name="connsiteX2" fmla="*/ 232521 w 371475"/>
                  <a:gd name="connsiteY2" fmla="*/ 28099 h 247650"/>
                  <a:gd name="connsiteX3" fmla="*/ 323961 w 371475"/>
                  <a:gd name="connsiteY3" fmla="*/ 53816 h 247650"/>
                  <a:gd name="connsiteX4" fmla="*/ 353489 w 371475"/>
                  <a:gd name="connsiteY4" fmla="*/ 75724 h 247650"/>
                  <a:gd name="connsiteX5" fmla="*/ 367777 w 371475"/>
                  <a:gd name="connsiteY5" fmla="*/ 74771 h 247650"/>
                  <a:gd name="connsiteX6" fmla="*/ 366824 w 371475"/>
                  <a:gd name="connsiteY6" fmla="*/ 60484 h 247650"/>
                  <a:gd name="connsiteX7" fmla="*/ 334439 w 371475"/>
                  <a:gd name="connsiteY7" fmla="*/ 35719 h 247650"/>
                  <a:gd name="connsiteX8" fmla="*/ 232521 w 371475"/>
                  <a:gd name="connsiteY8" fmla="*/ 7144 h 247650"/>
                  <a:gd name="connsiteX9" fmla="*/ 78216 w 371475"/>
                  <a:gd name="connsiteY9" fmla="*/ 69056 h 247650"/>
                  <a:gd name="connsiteX10" fmla="*/ 15351 w 371475"/>
                  <a:gd name="connsiteY10" fmla="*/ 200501 h 247650"/>
                  <a:gd name="connsiteX11" fmla="*/ 7731 w 371475"/>
                  <a:gd name="connsiteY11" fmla="*/ 236696 h 247650"/>
                  <a:gd name="connsiteX12" fmla="*/ 14399 w 371475"/>
                  <a:gd name="connsiteY12" fmla="*/ 249079 h 247650"/>
                  <a:gd name="connsiteX13" fmla="*/ 17256 w 371475"/>
                  <a:gd name="connsiteY13" fmla="*/ 249079 h 247650"/>
                  <a:gd name="connsiteX14" fmla="*/ 26781 w 371475"/>
                  <a:gd name="connsiteY14" fmla="*/ 241459 h 247650"/>
                  <a:gd name="connsiteX15" fmla="*/ 35354 w 371475"/>
                  <a:gd name="connsiteY15" fmla="*/ 203359 h 247650"/>
                  <a:gd name="connsiteX16" fmla="*/ 35354 w 371475"/>
                  <a:gd name="connsiteY16" fmla="*/ 203359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1475" h="247650">
                    <a:moveTo>
                      <a:pt x="35354" y="203359"/>
                    </a:moveTo>
                    <a:cubicBezTo>
                      <a:pt x="41069" y="157639"/>
                      <a:pt x="62024" y="114776"/>
                      <a:pt x="92504" y="83344"/>
                    </a:cubicBezTo>
                    <a:cubicBezTo>
                      <a:pt x="128699" y="47149"/>
                      <a:pt x="177277" y="28099"/>
                      <a:pt x="232521" y="28099"/>
                    </a:cubicBezTo>
                    <a:cubicBezTo>
                      <a:pt x="255382" y="28099"/>
                      <a:pt x="288719" y="32861"/>
                      <a:pt x="323961" y="53816"/>
                    </a:cubicBezTo>
                    <a:cubicBezTo>
                      <a:pt x="334439" y="60484"/>
                      <a:pt x="343964" y="67151"/>
                      <a:pt x="353489" y="75724"/>
                    </a:cubicBezTo>
                    <a:cubicBezTo>
                      <a:pt x="357299" y="79534"/>
                      <a:pt x="363966" y="79534"/>
                      <a:pt x="367777" y="74771"/>
                    </a:cubicBezTo>
                    <a:cubicBezTo>
                      <a:pt x="371586" y="70961"/>
                      <a:pt x="371586" y="64294"/>
                      <a:pt x="366824" y="60484"/>
                    </a:cubicBezTo>
                    <a:cubicBezTo>
                      <a:pt x="356347" y="50959"/>
                      <a:pt x="345869" y="43339"/>
                      <a:pt x="334439" y="35719"/>
                    </a:cubicBezTo>
                    <a:cubicBezTo>
                      <a:pt x="295386" y="11906"/>
                      <a:pt x="257286" y="7144"/>
                      <a:pt x="232521" y="7144"/>
                    </a:cubicBezTo>
                    <a:cubicBezTo>
                      <a:pt x="171561" y="7144"/>
                      <a:pt x="118221" y="28099"/>
                      <a:pt x="78216" y="69056"/>
                    </a:cubicBezTo>
                    <a:cubicBezTo>
                      <a:pt x="43926" y="103346"/>
                      <a:pt x="21066" y="150019"/>
                      <a:pt x="15351" y="200501"/>
                    </a:cubicBezTo>
                    <a:cubicBezTo>
                      <a:pt x="15351" y="202406"/>
                      <a:pt x="11541" y="223361"/>
                      <a:pt x="7731" y="236696"/>
                    </a:cubicBezTo>
                    <a:cubicBezTo>
                      <a:pt x="5826" y="242411"/>
                      <a:pt x="8684" y="247174"/>
                      <a:pt x="14399" y="249079"/>
                    </a:cubicBezTo>
                    <a:cubicBezTo>
                      <a:pt x="15351" y="249079"/>
                      <a:pt x="16304" y="249079"/>
                      <a:pt x="17256" y="249079"/>
                    </a:cubicBezTo>
                    <a:cubicBezTo>
                      <a:pt x="22019" y="249079"/>
                      <a:pt x="25829" y="246221"/>
                      <a:pt x="26781" y="241459"/>
                    </a:cubicBezTo>
                    <a:cubicBezTo>
                      <a:pt x="31544" y="227171"/>
                      <a:pt x="35354" y="205264"/>
                      <a:pt x="35354" y="203359"/>
                    </a:cubicBezTo>
                    <a:lnTo>
                      <a:pt x="35354" y="20335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Freihandform: Form 56">
                <a:extLst>
                  <a:ext uri="{FF2B5EF4-FFF2-40B4-BE49-F238E27FC236}">
                    <a16:creationId xmlns:a16="http://schemas.microsoft.com/office/drawing/2014/main" id="{41E26D0D-9290-447F-8580-472DB28B8649}"/>
                  </a:ext>
                </a:extLst>
              </p:cNvPr>
              <p:cNvSpPr/>
              <p:nvPr/>
            </p:nvSpPr>
            <p:spPr>
              <a:xfrm>
                <a:off x="1009662" y="5725224"/>
                <a:ext cx="38550" cy="53970"/>
              </a:xfrm>
              <a:custGeom>
                <a:avLst/>
                <a:gdLst>
                  <a:gd name="connsiteX0" fmla="*/ 39529 w 47625"/>
                  <a:gd name="connsiteY0" fmla="*/ 56674 h 66675"/>
                  <a:gd name="connsiteX1" fmla="*/ 38576 w 47625"/>
                  <a:gd name="connsiteY1" fmla="*/ 53816 h 66675"/>
                  <a:gd name="connsiteX2" fmla="*/ 11906 w 47625"/>
                  <a:gd name="connsiteY2" fmla="*/ 7144 h 66675"/>
                  <a:gd name="connsiteX3" fmla="*/ 8096 w 47625"/>
                  <a:gd name="connsiteY3" fmla="*/ 7144 h 66675"/>
                  <a:gd name="connsiteX4" fmla="*/ 7144 w 47625"/>
                  <a:gd name="connsiteY4" fmla="*/ 32861 h 66675"/>
                  <a:gd name="connsiteX5" fmla="*/ 14764 w 47625"/>
                  <a:gd name="connsiteY5" fmla="*/ 48101 h 66675"/>
                  <a:gd name="connsiteX6" fmla="*/ 44291 w 47625"/>
                  <a:gd name="connsiteY6" fmla="*/ 67151 h 66675"/>
                  <a:gd name="connsiteX7" fmla="*/ 40481 w 47625"/>
                  <a:gd name="connsiteY7" fmla="*/ 59531 h 66675"/>
                  <a:gd name="connsiteX8" fmla="*/ 39529 w 47625"/>
                  <a:gd name="connsiteY8" fmla="*/ 5667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66675">
                    <a:moveTo>
                      <a:pt x="39529" y="56674"/>
                    </a:moveTo>
                    <a:lnTo>
                      <a:pt x="38576" y="53816"/>
                    </a:lnTo>
                    <a:cubicBezTo>
                      <a:pt x="32861" y="37624"/>
                      <a:pt x="24289" y="18574"/>
                      <a:pt x="11906" y="7144"/>
                    </a:cubicBezTo>
                    <a:lnTo>
                      <a:pt x="8096" y="7144"/>
                    </a:lnTo>
                    <a:lnTo>
                      <a:pt x="7144" y="32861"/>
                    </a:lnTo>
                    <a:cubicBezTo>
                      <a:pt x="10001" y="36671"/>
                      <a:pt x="11906" y="42386"/>
                      <a:pt x="14764" y="48101"/>
                    </a:cubicBezTo>
                    <a:cubicBezTo>
                      <a:pt x="27146" y="53816"/>
                      <a:pt x="36671" y="60484"/>
                      <a:pt x="44291" y="67151"/>
                    </a:cubicBezTo>
                    <a:cubicBezTo>
                      <a:pt x="42386" y="64294"/>
                      <a:pt x="41434" y="61436"/>
                      <a:pt x="40481" y="59531"/>
                    </a:cubicBezTo>
                    <a:lnTo>
                      <a:pt x="39529" y="566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Freihandform: Form 57">
                <a:extLst>
                  <a:ext uri="{FF2B5EF4-FFF2-40B4-BE49-F238E27FC236}">
                    <a16:creationId xmlns:a16="http://schemas.microsoft.com/office/drawing/2014/main" id="{9721C490-0873-4B9A-BFAF-A2CF238224DA}"/>
                  </a:ext>
                </a:extLst>
              </p:cNvPr>
              <p:cNvSpPr/>
              <p:nvPr/>
            </p:nvSpPr>
            <p:spPr>
              <a:xfrm>
                <a:off x="1028937" y="5721370"/>
                <a:ext cx="123359" cy="115649"/>
              </a:xfrm>
              <a:custGeom>
                <a:avLst/>
                <a:gdLst>
                  <a:gd name="connsiteX0" fmla="*/ 123349 w 152400"/>
                  <a:gd name="connsiteY0" fmla="*/ 138589 h 142875"/>
                  <a:gd name="connsiteX1" fmla="*/ 139541 w 152400"/>
                  <a:gd name="connsiteY1" fmla="*/ 140494 h 142875"/>
                  <a:gd name="connsiteX2" fmla="*/ 149066 w 152400"/>
                  <a:gd name="connsiteY2" fmla="*/ 130016 h 142875"/>
                  <a:gd name="connsiteX3" fmla="*/ 138589 w 152400"/>
                  <a:gd name="connsiteY3" fmla="*/ 120491 h 142875"/>
                  <a:gd name="connsiteX4" fmla="*/ 138589 w 152400"/>
                  <a:gd name="connsiteY4" fmla="*/ 120491 h 142875"/>
                  <a:gd name="connsiteX5" fmla="*/ 127159 w 152400"/>
                  <a:gd name="connsiteY5" fmla="*/ 119539 h 142875"/>
                  <a:gd name="connsiteX6" fmla="*/ 54769 w 152400"/>
                  <a:gd name="connsiteY6" fmla="*/ 52864 h 142875"/>
                  <a:gd name="connsiteX7" fmla="*/ 51911 w 152400"/>
                  <a:gd name="connsiteY7" fmla="*/ 47149 h 142875"/>
                  <a:gd name="connsiteX8" fmla="*/ 30004 w 152400"/>
                  <a:gd name="connsiteY8" fmla="*/ 7144 h 142875"/>
                  <a:gd name="connsiteX9" fmla="*/ 13811 w 152400"/>
                  <a:gd name="connsiteY9" fmla="*/ 10954 h 142875"/>
                  <a:gd name="connsiteX10" fmla="*/ 7144 w 152400"/>
                  <a:gd name="connsiteY10" fmla="*/ 10954 h 142875"/>
                  <a:gd name="connsiteX11" fmla="*/ 32861 w 152400"/>
                  <a:gd name="connsiteY11" fmla="*/ 55721 h 142875"/>
                  <a:gd name="connsiteX12" fmla="*/ 32861 w 152400"/>
                  <a:gd name="connsiteY12" fmla="*/ 56674 h 142875"/>
                  <a:gd name="connsiteX13" fmla="*/ 35719 w 152400"/>
                  <a:gd name="connsiteY13" fmla="*/ 62389 h 142875"/>
                  <a:gd name="connsiteX14" fmla="*/ 123349 w 152400"/>
                  <a:gd name="connsiteY14" fmla="*/ 138589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2400" h="142875">
                    <a:moveTo>
                      <a:pt x="123349" y="138589"/>
                    </a:moveTo>
                    <a:cubicBezTo>
                      <a:pt x="130016" y="140494"/>
                      <a:pt x="132874" y="140494"/>
                      <a:pt x="139541" y="140494"/>
                    </a:cubicBezTo>
                    <a:cubicBezTo>
                      <a:pt x="145256" y="140494"/>
                      <a:pt x="150019" y="135731"/>
                      <a:pt x="149066" y="130016"/>
                    </a:cubicBezTo>
                    <a:cubicBezTo>
                      <a:pt x="149066" y="124301"/>
                      <a:pt x="144304" y="120491"/>
                      <a:pt x="138589" y="120491"/>
                    </a:cubicBezTo>
                    <a:lnTo>
                      <a:pt x="138589" y="120491"/>
                    </a:lnTo>
                    <a:cubicBezTo>
                      <a:pt x="133826" y="120491"/>
                      <a:pt x="131921" y="120491"/>
                      <a:pt x="127159" y="119539"/>
                    </a:cubicBezTo>
                    <a:cubicBezTo>
                      <a:pt x="85249" y="110014"/>
                      <a:pt x="70961" y="83344"/>
                      <a:pt x="54769" y="52864"/>
                    </a:cubicBezTo>
                    <a:cubicBezTo>
                      <a:pt x="53816" y="50959"/>
                      <a:pt x="52864" y="49054"/>
                      <a:pt x="51911" y="47149"/>
                    </a:cubicBezTo>
                    <a:cubicBezTo>
                      <a:pt x="47149" y="35719"/>
                      <a:pt x="39529" y="21431"/>
                      <a:pt x="30004" y="7144"/>
                    </a:cubicBezTo>
                    <a:cubicBezTo>
                      <a:pt x="25241" y="9049"/>
                      <a:pt x="19526" y="10954"/>
                      <a:pt x="13811" y="10954"/>
                    </a:cubicBezTo>
                    <a:lnTo>
                      <a:pt x="7144" y="10954"/>
                    </a:lnTo>
                    <a:cubicBezTo>
                      <a:pt x="17621" y="24289"/>
                      <a:pt x="26194" y="40481"/>
                      <a:pt x="32861" y="55721"/>
                    </a:cubicBezTo>
                    <a:lnTo>
                      <a:pt x="32861" y="56674"/>
                    </a:lnTo>
                    <a:cubicBezTo>
                      <a:pt x="33814" y="58579"/>
                      <a:pt x="34766" y="60484"/>
                      <a:pt x="35719" y="62389"/>
                    </a:cubicBezTo>
                    <a:cubicBezTo>
                      <a:pt x="55721" y="93821"/>
                      <a:pt x="72866" y="127159"/>
                      <a:pt x="123349" y="13858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Freihandform: Form 58">
                <a:extLst>
                  <a:ext uri="{FF2B5EF4-FFF2-40B4-BE49-F238E27FC236}">
                    <a16:creationId xmlns:a16="http://schemas.microsoft.com/office/drawing/2014/main" id="{D8DCAB8C-AB18-410E-914B-EC0E38497CEF}"/>
                  </a:ext>
                </a:extLst>
              </p:cNvPr>
              <p:cNvSpPr/>
              <p:nvPr/>
            </p:nvSpPr>
            <p:spPr>
              <a:xfrm>
                <a:off x="927937" y="5803865"/>
                <a:ext cx="30840" cy="46260"/>
              </a:xfrm>
              <a:custGeom>
                <a:avLst/>
                <a:gdLst>
                  <a:gd name="connsiteX0" fmla="*/ 31909 w 38100"/>
                  <a:gd name="connsiteY0" fmla="*/ 38576 h 57150"/>
                  <a:gd name="connsiteX1" fmla="*/ 30956 w 38100"/>
                  <a:gd name="connsiteY1" fmla="*/ 10954 h 57150"/>
                  <a:gd name="connsiteX2" fmla="*/ 26194 w 38100"/>
                  <a:gd name="connsiteY2" fmla="*/ 9049 h 57150"/>
                  <a:gd name="connsiteX3" fmla="*/ 18574 w 38100"/>
                  <a:gd name="connsiteY3" fmla="*/ 7144 h 57150"/>
                  <a:gd name="connsiteX4" fmla="*/ 7144 w 38100"/>
                  <a:gd name="connsiteY4" fmla="*/ 50959 h 57150"/>
                  <a:gd name="connsiteX5" fmla="*/ 22384 w 38100"/>
                  <a:gd name="connsiteY5" fmla="*/ 42386 h 57150"/>
                  <a:gd name="connsiteX6" fmla="*/ 31909 w 38100"/>
                  <a:gd name="connsiteY6" fmla="*/ 3857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57150">
                    <a:moveTo>
                      <a:pt x="31909" y="38576"/>
                    </a:moveTo>
                    <a:lnTo>
                      <a:pt x="30956" y="10954"/>
                    </a:lnTo>
                    <a:lnTo>
                      <a:pt x="26194" y="9049"/>
                    </a:lnTo>
                    <a:cubicBezTo>
                      <a:pt x="23336" y="8096"/>
                      <a:pt x="21431" y="8096"/>
                      <a:pt x="18574" y="7144"/>
                    </a:cubicBezTo>
                    <a:cubicBezTo>
                      <a:pt x="14764" y="23336"/>
                      <a:pt x="10954" y="37624"/>
                      <a:pt x="7144" y="50959"/>
                    </a:cubicBezTo>
                    <a:cubicBezTo>
                      <a:pt x="10954" y="48101"/>
                      <a:pt x="16669" y="45244"/>
                      <a:pt x="22384" y="42386"/>
                    </a:cubicBezTo>
                    <a:cubicBezTo>
                      <a:pt x="24289" y="41434"/>
                      <a:pt x="28099" y="40481"/>
                      <a:pt x="31909" y="38576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9" name="Freihandform: Form 59">
                <a:extLst>
                  <a:ext uri="{FF2B5EF4-FFF2-40B4-BE49-F238E27FC236}">
                    <a16:creationId xmlns:a16="http://schemas.microsoft.com/office/drawing/2014/main" id="{70BD7055-4FF8-4C7B-9815-6CC75F23B27B}"/>
                  </a:ext>
                </a:extLst>
              </p:cNvPr>
              <p:cNvSpPr/>
              <p:nvPr/>
            </p:nvSpPr>
            <p:spPr>
              <a:xfrm>
                <a:off x="831087" y="5626537"/>
                <a:ext cx="123359" cy="208168"/>
              </a:xfrm>
              <a:custGeom>
                <a:avLst/>
                <a:gdLst>
                  <a:gd name="connsiteX0" fmla="*/ 142034 w 152400"/>
                  <a:gd name="connsiteY0" fmla="*/ 30004 h 257175"/>
                  <a:gd name="connsiteX1" fmla="*/ 142034 w 152400"/>
                  <a:gd name="connsiteY1" fmla="*/ 26194 h 257175"/>
                  <a:gd name="connsiteX2" fmla="*/ 142034 w 152400"/>
                  <a:gd name="connsiteY2" fmla="*/ 25241 h 257175"/>
                  <a:gd name="connsiteX3" fmla="*/ 145844 w 152400"/>
                  <a:gd name="connsiteY3" fmla="*/ 7144 h 257175"/>
                  <a:gd name="connsiteX4" fmla="*/ 28686 w 152400"/>
                  <a:gd name="connsiteY4" fmla="*/ 155734 h 257175"/>
                  <a:gd name="connsiteX5" fmla="*/ 7731 w 152400"/>
                  <a:gd name="connsiteY5" fmla="*/ 246221 h 257175"/>
                  <a:gd name="connsiteX6" fmla="*/ 14399 w 152400"/>
                  <a:gd name="connsiteY6" fmla="*/ 258604 h 257175"/>
                  <a:gd name="connsiteX7" fmla="*/ 17256 w 152400"/>
                  <a:gd name="connsiteY7" fmla="*/ 259556 h 257175"/>
                  <a:gd name="connsiteX8" fmla="*/ 26781 w 152400"/>
                  <a:gd name="connsiteY8" fmla="*/ 252889 h 257175"/>
                  <a:gd name="connsiteX9" fmla="*/ 48689 w 152400"/>
                  <a:gd name="connsiteY9" fmla="*/ 158591 h 257175"/>
                  <a:gd name="connsiteX10" fmla="*/ 142034 w 152400"/>
                  <a:gd name="connsiteY10" fmla="*/ 30004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257175">
                    <a:moveTo>
                      <a:pt x="142034" y="30004"/>
                    </a:moveTo>
                    <a:lnTo>
                      <a:pt x="142034" y="26194"/>
                    </a:lnTo>
                    <a:lnTo>
                      <a:pt x="142034" y="25241"/>
                    </a:lnTo>
                    <a:cubicBezTo>
                      <a:pt x="142034" y="18574"/>
                      <a:pt x="142987" y="12859"/>
                      <a:pt x="145844" y="7144"/>
                    </a:cubicBezTo>
                    <a:cubicBezTo>
                      <a:pt x="76311" y="30004"/>
                      <a:pt x="37259" y="92869"/>
                      <a:pt x="28686" y="155734"/>
                    </a:cubicBezTo>
                    <a:cubicBezTo>
                      <a:pt x="22971" y="197644"/>
                      <a:pt x="14399" y="227171"/>
                      <a:pt x="7731" y="246221"/>
                    </a:cubicBezTo>
                    <a:cubicBezTo>
                      <a:pt x="5826" y="251936"/>
                      <a:pt x="8684" y="256699"/>
                      <a:pt x="14399" y="258604"/>
                    </a:cubicBezTo>
                    <a:cubicBezTo>
                      <a:pt x="15351" y="258604"/>
                      <a:pt x="16304" y="259556"/>
                      <a:pt x="17256" y="259556"/>
                    </a:cubicBezTo>
                    <a:cubicBezTo>
                      <a:pt x="21066" y="259556"/>
                      <a:pt x="25829" y="256699"/>
                      <a:pt x="26781" y="252889"/>
                    </a:cubicBezTo>
                    <a:cubicBezTo>
                      <a:pt x="33449" y="232886"/>
                      <a:pt x="42974" y="201454"/>
                      <a:pt x="48689" y="158591"/>
                    </a:cubicBezTo>
                    <a:cubicBezTo>
                      <a:pt x="55356" y="105251"/>
                      <a:pt x="85836" y="52864"/>
                      <a:pt x="142034" y="3000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0" name="Freihandform: Form 60">
                <a:extLst>
                  <a:ext uri="{FF2B5EF4-FFF2-40B4-BE49-F238E27FC236}">
                    <a16:creationId xmlns:a16="http://schemas.microsoft.com/office/drawing/2014/main" id="{A0A4B81F-0B87-4935-A90F-B9A6136A3EFD}"/>
                  </a:ext>
                </a:extLst>
              </p:cNvPr>
              <p:cNvSpPr/>
              <p:nvPr/>
            </p:nvSpPr>
            <p:spPr>
              <a:xfrm>
                <a:off x="894469" y="5883278"/>
                <a:ext cx="38550" cy="53970"/>
              </a:xfrm>
              <a:custGeom>
                <a:avLst/>
                <a:gdLst>
                  <a:gd name="connsiteX0" fmla="*/ 33251 w 47625"/>
                  <a:gd name="connsiteY0" fmla="*/ 44291 h 66675"/>
                  <a:gd name="connsiteX1" fmla="*/ 40871 w 47625"/>
                  <a:gd name="connsiteY1" fmla="*/ 30004 h 66675"/>
                  <a:gd name="connsiteX2" fmla="*/ 29441 w 47625"/>
                  <a:gd name="connsiteY2" fmla="*/ 7144 h 66675"/>
                  <a:gd name="connsiteX3" fmla="*/ 16106 w 47625"/>
                  <a:gd name="connsiteY3" fmla="*/ 34766 h 66675"/>
                  <a:gd name="connsiteX4" fmla="*/ 8486 w 47625"/>
                  <a:gd name="connsiteY4" fmla="*/ 48101 h 66675"/>
                  <a:gd name="connsiteX5" fmla="*/ 12296 w 47625"/>
                  <a:gd name="connsiteY5" fmla="*/ 61436 h 66675"/>
                  <a:gd name="connsiteX6" fmla="*/ 17059 w 47625"/>
                  <a:gd name="connsiteY6" fmla="*/ 62389 h 66675"/>
                  <a:gd name="connsiteX7" fmla="*/ 25631 w 47625"/>
                  <a:gd name="connsiteY7" fmla="*/ 56674 h 66675"/>
                  <a:gd name="connsiteX8" fmla="*/ 33251 w 47625"/>
                  <a:gd name="connsiteY8" fmla="*/ 44291 h 66675"/>
                  <a:gd name="connsiteX9" fmla="*/ 33251 w 47625"/>
                  <a:gd name="connsiteY9" fmla="*/ 44291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625" h="66675">
                    <a:moveTo>
                      <a:pt x="33251" y="44291"/>
                    </a:moveTo>
                    <a:cubicBezTo>
                      <a:pt x="35156" y="40481"/>
                      <a:pt x="38014" y="35719"/>
                      <a:pt x="40871" y="30004"/>
                    </a:cubicBezTo>
                    <a:cubicBezTo>
                      <a:pt x="34204" y="22384"/>
                      <a:pt x="30394" y="14764"/>
                      <a:pt x="29441" y="7144"/>
                    </a:cubicBezTo>
                    <a:cubicBezTo>
                      <a:pt x="24679" y="18574"/>
                      <a:pt x="19916" y="27146"/>
                      <a:pt x="16106" y="34766"/>
                    </a:cubicBezTo>
                    <a:cubicBezTo>
                      <a:pt x="15154" y="35719"/>
                      <a:pt x="10391" y="44291"/>
                      <a:pt x="8486" y="48101"/>
                    </a:cubicBezTo>
                    <a:cubicBezTo>
                      <a:pt x="5629" y="52864"/>
                      <a:pt x="7534" y="59531"/>
                      <a:pt x="12296" y="61436"/>
                    </a:cubicBezTo>
                    <a:cubicBezTo>
                      <a:pt x="14201" y="62389"/>
                      <a:pt x="15154" y="62389"/>
                      <a:pt x="17059" y="62389"/>
                    </a:cubicBezTo>
                    <a:cubicBezTo>
                      <a:pt x="20869" y="62389"/>
                      <a:pt x="23726" y="60484"/>
                      <a:pt x="25631" y="56674"/>
                    </a:cubicBezTo>
                    <a:cubicBezTo>
                      <a:pt x="27536" y="53816"/>
                      <a:pt x="31346" y="47149"/>
                      <a:pt x="33251" y="44291"/>
                    </a:cubicBezTo>
                    <a:lnTo>
                      <a:pt x="33251" y="44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1" name="Freihandform: Form 61">
                <a:extLst>
                  <a:ext uri="{FF2B5EF4-FFF2-40B4-BE49-F238E27FC236}">
                    <a16:creationId xmlns:a16="http://schemas.microsoft.com/office/drawing/2014/main" id="{ECAFF028-31A6-4277-B78E-7DD195D9CE5D}"/>
                  </a:ext>
                </a:extLst>
              </p:cNvPr>
              <p:cNvSpPr/>
              <p:nvPr/>
            </p:nvSpPr>
            <p:spPr>
              <a:xfrm>
                <a:off x="1038189" y="5841645"/>
                <a:ext cx="100229" cy="61679"/>
              </a:xfrm>
              <a:custGeom>
                <a:avLst/>
                <a:gdLst>
                  <a:gd name="connsiteX0" fmla="*/ 110014 w 123825"/>
                  <a:gd name="connsiteY0" fmla="*/ 53816 h 76200"/>
                  <a:gd name="connsiteX1" fmla="*/ 20479 w 123825"/>
                  <a:gd name="connsiteY1" fmla="*/ 7144 h 76200"/>
                  <a:gd name="connsiteX2" fmla="*/ 7144 w 123825"/>
                  <a:gd name="connsiteY2" fmla="*/ 22384 h 76200"/>
                  <a:gd name="connsiteX3" fmla="*/ 107156 w 123825"/>
                  <a:gd name="connsiteY3" fmla="*/ 73819 h 76200"/>
                  <a:gd name="connsiteX4" fmla="*/ 118586 w 123825"/>
                  <a:gd name="connsiteY4" fmla="*/ 65246 h 76200"/>
                  <a:gd name="connsiteX5" fmla="*/ 110014 w 123825"/>
                  <a:gd name="connsiteY5" fmla="*/ 53816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76200">
                    <a:moveTo>
                      <a:pt x="110014" y="53816"/>
                    </a:moveTo>
                    <a:cubicBezTo>
                      <a:pt x="79534" y="49054"/>
                      <a:pt x="46196" y="30956"/>
                      <a:pt x="20479" y="7144"/>
                    </a:cubicBezTo>
                    <a:cubicBezTo>
                      <a:pt x="16669" y="12859"/>
                      <a:pt x="12859" y="17621"/>
                      <a:pt x="7144" y="22384"/>
                    </a:cubicBezTo>
                    <a:cubicBezTo>
                      <a:pt x="35719" y="49054"/>
                      <a:pt x="71914" y="68104"/>
                      <a:pt x="107156" y="73819"/>
                    </a:cubicBezTo>
                    <a:cubicBezTo>
                      <a:pt x="112871" y="74771"/>
                      <a:pt x="117634" y="70961"/>
                      <a:pt x="118586" y="65246"/>
                    </a:cubicBezTo>
                    <a:cubicBezTo>
                      <a:pt x="119539" y="59531"/>
                      <a:pt x="115729" y="54769"/>
                      <a:pt x="110014" y="53816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Freihandform: Form 62">
                <a:extLst>
                  <a:ext uri="{FF2B5EF4-FFF2-40B4-BE49-F238E27FC236}">
                    <a16:creationId xmlns:a16="http://schemas.microsoft.com/office/drawing/2014/main" id="{DC90F61C-75B3-4662-B5DA-DA7ECF65A2DD}"/>
                  </a:ext>
                </a:extLst>
              </p:cNvPr>
              <p:cNvSpPr/>
              <p:nvPr/>
            </p:nvSpPr>
            <p:spPr>
              <a:xfrm>
                <a:off x="854102" y="5748354"/>
                <a:ext cx="46260" cy="123359"/>
              </a:xfrm>
              <a:custGeom>
                <a:avLst/>
                <a:gdLst>
                  <a:gd name="connsiteX0" fmla="*/ 40259 w 57150"/>
                  <a:gd name="connsiteY0" fmla="*/ 7144 h 152400"/>
                  <a:gd name="connsiteX1" fmla="*/ 40259 w 57150"/>
                  <a:gd name="connsiteY1" fmla="*/ 10001 h 152400"/>
                  <a:gd name="connsiteX2" fmla="*/ 7874 w 57150"/>
                  <a:gd name="connsiteY2" fmla="*/ 134779 h 152400"/>
                  <a:gd name="connsiteX3" fmla="*/ 12636 w 57150"/>
                  <a:gd name="connsiteY3" fmla="*/ 148114 h 152400"/>
                  <a:gd name="connsiteX4" fmla="*/ 16446 w 57150"/>
                  <a:gd name="connsiteY4" fmla="*/ 149066 h 152400"/>
                  <a:gd name="connsiteX5" fmla="*/ 25971 w 57150"/>
                  <a:gd name="connsiteY5" fmla="*/ 143351 h 152400"/>
                  <a:gd name="connsiteX6" fmla="*/ 55499 w 57150"/>
                  <a:gd name="connsiteY6" fmla="*/ 41434 h 152400"/>
                  <a:gd name="connsiteX7" fmla="*/ 40259 w 57150"/>
                  <a:gd name="connsiteY7" fmla="*/ 7144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150" h="152400">
                    <a:moveTo>
                      <a:pt x="40259" y="7144"/>
                    </a:moveTo>
                    <a:cubicBezTo>
                      <a:pt x="40259" y="8096"/>
                      <a:pt x="40259" y="9049"/>
                      <a:pt x="40259" y="10001"/>
                    </a:cubicBezTo>
                    <a:cubicBezTo>
                      <a:pt x="31686" y="75724"/>
                      <a:pt x="19304" y="110014"/>
                      <a:pt x="7874" y="134779"/>
                    </a:cubicBezTo>
                    <a:cubicBezTo>
                      <a:pt x="5969" y="139541"/>
                      <a:pt x="7874" y="146209"/>
                      <a:pt x="12636" y="148114"/>
                    </a:cubicBezTo>
                    <a:cubicBezTo>
                      <a:pt x="13589" y="149066"/>
                      <a:pt x="15494" y="149066"/>
                      <a:pt x="16446" y="149066"/>
                    </a:cubicBezTo>
                    <a:cubicBezTo>
                      <a:pt x="20256" y="149066"/>
                      <a:pt x="24066" y="147161"/>
                      <a:pt x="25971" y="143351"/>
                    </a:cubicBezTo>
                    <a:cubicBezTo>
                      <a:pt x="36449" y="120491"/>
                      <a:pt x="46926" y="91916"/>
                      <a:pt x="55499" y="41434"/>
                    </a:cubicBezTo>
                    <a:cubicBezTo>
                      <a:pt x="47879" y="30956"/>
                      <a:pt x="43116" y="19526"/>
                      <a:pt x="40259" y="714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Freihandform: Form 63">
                <a:extLst>
                  <a:ext uri="{FF2B5EF4-FFF2-40B4-BE49-F238E27FC236}">
                    <a16:creationId xmlns:a16="http://schemas.microsoft.com/office/drawing/2014/main" id="{C822F3E8-D666-456E-B233-EB5F7AE4AB02}"/>
                  </a:ext>
                </a:extLst>
              </p:cNvPr>
              <p:cNvSpPr/>
              <p:nvPr/>
            </p:nvSpPr>
            <p:spPr>
              <a:xfrm>
                <a:off x="1018439" y="5901532"/>
                <a:ext cx="100229" cy="84809"/>
              </a:xfrm>
              <a:custGeom>
                <a:avLst/>
                <a:gdLst>
                  <a:gd name="connsiteX0" fmla="*/ 119174 w 123825"/>
                  <a:gd name="connsiteY0" fmla="*/ 21740 h 104775"/>
                  <a:gd name="connsiteX1" fmla="*/ 96314 w 123825"/>
                  <a:gd name="connsiteY1" fmla="*/ 10310 h 104775"/>
                  <a:gd name="connsiteX2" fmla="*/ 45831 w 123825"/>
                  <a:gd name="connsiteY2" fmla="*/ 16977 h 104775"/>
                  <a:gd name="connsiteX3" fmla="*/ 7731 w 123825"/>
                  <a:gd name="connsiteY3" fmla="*/ 86510 h 104775"/>
                  <a:gd name="connsiteX4" fmla="*/ 14399 w 123825"/>
                  <a:gd name="connsiteY4" fmla="*/ 98892 h 104775"/>
                  <a:gd name="connsiteX5" fmla="*/ 17256 w 123825"/>
                  <a:gd name="connsiteY5" fmla="*/ 99845 h 104775"/>
                  <a:gd name="connsiteX6" fmla="*/ 26781 w 123825"/>
                  <a:gd name="connsiteY6" fmla="*/ 93177 h 104775"/>
                  <a:gd name="connsiteX7" fmla="*/ 57261 w 123825"/>
                  <a:gd name="connsiteY7" fmla="*/ 33170 h 104775"/>
                  <a:gd name="connsiteX8" fmla="*/ 105839 w 123825"/>
                  <a:gd name="connsiteY8" fmla="*/ 36980 h 104775"/>
                  <a:gd name="connsiteX9" fmla="*/ 120126 w 123825"/>
                  <a:gd name="connsiteY9" fmla="*/ 35075 h 104775"/>
                  <a:gd name="connsiteX10" fmla="*/ 119174 w 123825"/>
                  <a:gd name="connsiteY10" fmla="*/ 2174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3825" h="104775">
                    <a:moveTo>
                      <a:pt x="119174" y="21740"/>
                    </a:moveTo>
                    <a:cubicBezTo>
                      <a:pt x="119174" y="21740"/>
                      <a:pt x="109649" y="14120"/>
                      <a:pt x="96314" y="10310"/>
                    </a:cubicBezTo>
                    <a:cubicBezTo>
                      <a:pt x="78217" y="4595"/>
                      <a:pt x="61071" y="6500"/>
                      <a:pt x="45831" y="16977"/>
                    </a:cubicBezTo>
                    <a:cubicBezTo>
                      <a:pt x="28686" y="29360"/>
                      <a:pt x="11542" y="76985"/>
                      <a:pt x="7731" y="86510"/>
                    </a:cubicBezTo>
                    <a:cubicBezTo>
                      <a:pt x="5826" y="92225"/>
                      <a:pt x="8684" y="97940"/>
                      <a:pt x="14399" y="98892"/>
                    </a:cubicBezTo>
                    <a:cubicBezTo>
                      <a:pt x="15351" y="98892"/>
                      <a:pt x="16304" y="99845"/>
                      <a:pt x="17256" y="99845"/>
                    </a:cubicBezTo>
                    <a:cubicBezTo>
                      <a:pt x="21067" y="99845"/>
                      <a:pt x="24876" y="96987"/>
                      <a:pt x="26781" y="93177"/>
                    </a:cubicBezTo>
                    <a:cubicBezTo>
                      <a:pt x="33449" y="72222"/>
                      <a:pt x="47736" y="39837"/>
                      <a:pt x="57261" y="33170"/>
                    </a:cubicBezTo>
                    <a:cubicBezTo>
                      <a:pt x="79169" y="16977"/>
                      <a:pt x="104887" y="36980"/>
                      <a:pt x="105839" y="36980"/>
                    </a:cubicBezTo>
                    <a:cubicBezTo>
                      <a:pt x="110601" y="40790"/>
                      <a:pt x="116317" y="39837"/>
                      <a:pt x="120126" y="35075"/>
                    </a:cubicBezTo>
                    <a:cubicBezTo>
                      <a:pt x="124889" y="32217"/>
                      <a:pt x="123937" y="25550"/>
                      <a:pt x="119174" y="2174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Freihandform: Form 64">
                <a:extLst>
                  <a:ext uri="{FF2B5EF4-FFF2-40B4-BE49-F238E27FC236}">
                    <a16:creationId xmlns:a16="http://schemas.microsoft.com/office/drawing/2014/main" id="{45C4146A-7026-449E-9E3E-D11117F1B04B}"/>
                  </a:ext>
                </a:extLst>
              </p:cNvPr>
              <p:cNvSpPr/>
              <p:nvPr/>
            </p:nvSpPr>
            <p:spPr>
              <a:xfrm>
                <a:off x="1055151" y="5800011"/>
                <a:ext cx="100229" cy="69389"/>
              </a:xfrm>
              <a:custGeom>
                <a:avLst/>
                <a:gdLst>
                  <a:gd name="connsiteX0" fmla="*/ 107156 w 123825"/>
                  <a:gd name="connsiteY0" fmla="*/ 64294 h 85725"/>
                  <a:gd name="connsiteX1" fmla="*/ 107156 w 123825"/>
                  <a:gd name="connsiteY1" fmla="*/ 64294 h 85725"/>
                  <a:gd name="connsiteX2" fmla="*/ 90011 w 123825"/>
                  <a:gd name="connsiteY2" fmla="*/ 62389 h 85725"/>
                  <a:gd name="connsiteX3" fmla="*/ 88106 w 123825"/>
                  <a:gd name="connsiteY3" fmla="*/ 62389 h 85725"/>
                  <a:gd name="connsiteX4" fmla="*/ 7144 w 123825"/>
                  <a:gd name="connsiteY4" fmla="*/ 7144 h 85725"/>
                  <a:gd name="connsiteX5" fmla="*/ 9049 w 123825"/>
                  <a:gd name="connsiteY5" fmla="*/ 23336 h 85725"/>
                  <a:gd name="connsiteX6" fmla="*/ 7144 w 123825"/>
                  <a:gd name="connsiteY6" fmla="*/ 38576 h 85725"/>
                  <a:gd name="connsiteX7" fmla="*/ 84296 w 123825"/>
                  <a:gd name="connsiteY7" fmla="*/ 81439 h 85725"/>
                  <a:gd name="connsiteX8" fmla="*/ 86201 w 123825"/>
                  <a:gd name="connsiteY8" fmla="*/ 81439 h 85725"/>
                  <a:gd name="connsiteX9" fmla="*/ 106204 w 123825"/>
                  <a:gd name="connsiteY9" fmla="*/ 84296 h 85725"/>
                  <a:gd name="connsiteX10" fmla="*/ 116681 w 123825"/>
                  <a:gd name="connsiteY10" fmla="*/ 73819 h 85725"/>
                  <a:gd name="connsiteX11" fmla="*/ 107156 w 123825"/>
                  <a:gd name="connsiteY11" fmla="*/ 6429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825" h="85725">
                    <a:moveTo>
                      <a:pt x="107156" y="64294"/>
                    </a:moveTo>
                    <a:lnTo>
                      <a:pt x="107156" y="64294"/>
                    </a:lnTo>
                    <a:cubicBezTo>
                      <a:pt x="103346" y="64294"/>
                      <a:pt x="101441" y="64294"/>
                      <a:pt x="90011" y="62389"/>
                    </a:cubicBezTo>
                    <a:lnTo>
                      <a:pt x="88106" y="62389"/>
                    </a:lnTo>
                    <a:cubicBezTo>
                      <a:pt x="50959" y="55721"/>
                      <a:pt x="24289" y="30956"/>
                      <a:pt x="7144" y="7144"/>
                    </a:cubicBezTo>
                    <a:cubicBezTo>
                      <a:pt x="9049" y="12859"/>
                      <a:pt x="9049" y="18574"/>
                      <a:pt x="9049" y="23336"/>
                    </a:cubicBezTo>
                    <a:cubicBezTo>
                      <a:pt x="9049" y="29051"/>
                      <a:pt x="8096" y="33814"/>
                      <a:pt x="7144" y="38576"/>
                    </a:cubicBezTo>
                    <a:cubicBezTo>
                      <a:pt x="26194" y="58579"/>
                      <a:pt x="51911" y="76676"/>
                      <a:pt x="84296" y="81439"/>
                    </a:cubicBezTo>
                    <a:lnTo>
                      <a:pt x="86201" y="81439"/>
                    </a:lnTo>
                    <a:cubicBezTo>
                      <a:pt x="97631" y="83344"/>
                      <a:pt x="101441" y="84296"/>
                      <a:pt x="106204" y="84296"/>
                    </a:cubicBezTo>
                    <a:cubicBezTo>
                      <a:pt x="111919" y="84296"/>
                      <a:pt x="116681" y="79534"/>
                      <a:pt x="116681" y="73819"/>
                    </a:cubicBezTo>
                    <a:cubicBezTo>
                      <a:pt x="117634" y="69056"/>
                      <a:pt x="112871" y="64294"/>
                      <a:pt x="107156" y="6429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Freihandform: Form 65">
                <a:extLst>
                  <a:ext uri="{FF2B5EF4-FFF2-40B4-BE49-F238E27FC236}">
                    <a16:creationId xmlns:a16="http://schemas.microsoft.com/office/drawing/2014/main" id="{4F96B6B0-29A9-4B86-B2E8-74EFB0F3D474}"/>
                  </a:ext>
                </a:extLst>
              </p:cNvPr>
              <p:cNvSpPr/>
              <p:nvPr/>
            </p:nvSpPr>
            <p:spPr>
              <a:xfrm>
                <a:off x="971568" y="5878948"/>
                <a:ext cx="69389" cy="123359"/>
              </a:xfrm>
              <a:custGeom>
                <a:avLst/>
                <a:gdLst>
                  <a:gd name="connsiteX0" fmla="*/ 75161 w 85725"/>
                  <a:gd name="connsiteY0" fmla="*/ 7731 h 152400"/>
                  <a:gd name="connsiteX1" fmla="*/ 62779 w 85725"/>
                  <a:gd name="connsiteY1" fmla="*/ 14399 h 152400"/>
                  <a:gd name="connsiteX2" fmla="*/ 21821 w 85725"/>
                  <a:gd name="connsiteY2" fmla="*/ 109649 h 152400"/>
                  <a:gd name="connsiteX3" fmla="*/ 19916 w 85725"/>
                  <a:gd name="connsiteY3" fmla="*/ 112506 h 152400"/>
                  <a:gd name="connsiteX4" fmla="*/ 16106 w 85725"/>
                  <a:gd name="connsiteY4" fmla="*/ 119174 h 152400"/>
                  <a:gd name="connsiteX5" fmla="*/ 8486 w 85725"/>
                  <a:gd name="connsiteY5" fmla="*/ 131556 h 152400"/>
                  <a:gd name="connsiteX6" fmla="*/ 8486 w 85725"/>
                  <a:gd name="connsiteY6" fmla="*/ 131556 h 152400"/>
                  <a:gd name="connsiteX7" fmla="*/ 12296 w 85725"/>
                  <a:gd name="connsiteY7" fmla="*/ 144891 h 152400"/>
                  <a:gd name="connsiteX8" fmla="*/ 17059 w 85725"/>
                  <a:gd name="connsiteY8" fmla="*/ 146797 h 152400"/>
                  <a:gd name="connsiteX9" fmla="*/ 25631 w 85725"/>
                  <a:gd name="connsiteY9" fmla="*/ 142034 h 152400"/>
                  <a:gd name="connsiteX10" fmla="*/ 25631 w 85725"/>
                  <a:gd name="connsiteY10" fmla="*/ 142034 h 152400"/>
                  <a:gd name="connsiteX11" fmla="*/ 33251 w 85725"/>
                  <a:gd name="connsiteY11" fmla="*/ 127746 h 152400"/>
                  <a:gd name="connsiteX12" fmla="*/ 36109 w 85725"/>
                  <a:gd name="connsiteY12" fmla="*/ 122031 h 152400"/>
                  <a:gd name="connsiteX13" fmla="*/ 38014 w 85725"/>
                  <a:gd name="connsiteY13" fmla="*/ 118221 h 152400"/>
                  <a:gd name="connsiteX14" fmla="*/ 80876 w 85725"/>
                  <a:gd name="connsiteY14" fmla="*/ 19161 h 152400"/>
                  <a:gd name="connsiteX15" fmla="*/ 75161 w 85725"/>
                  <a:gd name="connsiteY15" fmla="*/ 7731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5725" h="152400">
                    <a:moveTo>
                      <a:pt x="75161" y="7731"/>
                    </a:moveTo>
                    <a:cubicBezTo>
                      <a:pt x="69446" y="5827"/>
                      <a:pt x="64684" y="8684"/>
                      <a:pt x="62779" y="14399"/>
                    </a:cubicBezTo>
                    <a:cubicBezTo>
                      <a:pt x="45634" y="67739"/>
                      <a:pt x="30394" y="95361"/>
                      <a:pt x="21821" y="109649"/>
                    </a:cubicBezTo>
                    <a:lnTo>
                      <a:pt x="19916" y="112506"/>
                    </a:lnTo>
                    <a:cubicBezTo>
                      <a:pt x="18964" y="114411"/>
                      <a:pt x="17059" y="117269"/>
                      <a:pt x="16106" y="119174"/>
                    </a:cubicBezTo>
                    <a:cubicBezTo>
                      <a:pt x="14201" y="122984"/>
                      <a:pt x="12296" y="126794"/>
                      <a:pt x="8486" y="131556"/>
                    </a:cubicBezTo>
                    <a:lnTo>
                      <a:pt x="8486" y="131556"/>
                    </a:lnTo>
                    <a:cubicBezTo>
                      <a:pt x="5629" y="136319"/>
                      <a:pt x="7534" y="142034"/>
                      <a:pt x="12296" y="144891"/>
                    </a:cubicBezTo>
                    <a:cubicBezTo>
                      <a:pt x="14201" y="145844"/>
                      <a:pt x="16106" y="146797"/>
                      <a:pt x="17059" y="146797"/>
                    </a:cubicBezTo>
                    <a:cubicBezTo>
                      <a:pt x="20869" y="146797"/>
                      <a:pt x="23726" y="144891"/>
                      <a:pt x="25631" y="142034"/>
                    </a:cubicBezTo>
                    <a:lnTo>
                      <a:pt x="25631" y="142034"/>
                    </a:lnTo>
                    <a:cubicBezTo>
                      <a:pt x="29441" y="136319"/>
                      <a:pt x="31346" y="132509"/>
                      <a:pt x="33251" y="127746"/>
                    </a:cubicBezTo>
                    <a:cubicBezTo>
                      <a:pt x="34204" y="125841"/>
                      <a:pt x="35156" y="123936"/>
                      <a:pt x="36109" y="122031"/>
                    </a:cubicBezTo>
                    <a:lnTo>
                      <a:pt x="38014" y="118221"/>
                    </a:lnTo>
                    <a:cubicBezTo>
                      <a:pt x="46586" y="102981"/>
                      <a:pt x="62779" y="74406"/>
                      <a:pt x="80876" y="19161"/>
                    </a:cubicBezTo>
                    <a:cubicBezTo>
                      <a:pt x="82781" y="14399"/>
                      <a:pt x="79924" y="8684"/>
                      <a:pt x="75161" y="7731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Freihandform: Form 66">
                <a:extLst>
                  <a:ext uri="{FF2B5EF4-FFF2-40B4-BE49-F238E27FC236}">
                    <a16:creationId xmlns:a16="http://schemas.microsoft.com/office/drawing/2014/main" id="{A955192C-44E3-4486-A4DC-8AD25FF8A3D4}"/>
                  </a:ext>
                </a:extLst>
              </p:cNvPr>
              <p:cNvSpPr/>
              <p:nvPr/>
            </p:nvSpPr>
            <p:spPr>
              <a:xfrm>
                <a:off x="872881" y="5789217"/>
                <a:ext cx="53969" cy="115649"/>
              </a:xfrm>
              <a:custGeom>
                <a:avLst/>
                <a:gdLst>
                  <a:gd name="connsiteX0" fmla="*/ 49444 w 66675"/>
                  <a:gd name="connsiteY0" fmla="*/ 7144 h 142875"/>
                  <a:gd name="connsiteX1" fmla="*/ 9439 w 66675"/>
                  <a:gd name="connsiteY1" fmla="*/ 122396 h 142875"/>
                  <a:gd name="connsiteX2" fmla="*/ 8486 w 66675"/>
                  <a:gd name="connsiteY2" fmla="*/ 123349 h 142875"/>
                  <a:gd name="connsiteX3" fmla="*/ 12296 w 66675"/>
                  <a:gd name="connsiteY3" fmla="*/ 136684 h 142875"/>
                  <a:gd name="connsiteX4" fmla="*/ 17059 w 66675"/>
                  <a:gd name="connsiteY4" fmla="*/ 137636 h 142875"/>
                  <a:gd name="connsiteX5" fmla="*/ 25631 w 66675"/>
                  <a:gd name="connsiteY5" fmla="*/ 132874 h 142875"/>
                  <a:gd name="connsiteX6" fmla="*/ 26584 w 66675"/>
                  <a:gd name="connsiteY6" fmla="*/ 131921 h 142875"/>
                  <a:gd name="connsiteX7" fmla="*/ 67541 w 66675"/>
                  <a:gd name="connsiteY7" fmla="*/ 17621 h 142875"/>
                  <a:gd name="connsiteX8" fmla="*/ 49444 w 66675"/>
                  <a:gd name="connsiteY8" fmla="*/ 7144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142875">
                    <a:moveTo>
                      <a:pt x="49444" y="7144"/>
                    </a:moveTo>
                    <a:cubicBezTo>
                      <a:pt x="39919" y="53816"/>
                      <a:pt x="26584" y="91916"/>
                      <a:pt x="9439" y="122396"/>
                    </a:cubicBezTo>
                    <a:lnTo>
                      <a:pt x="8486" y="123349"/>
                    </a:lnTo>
                    <a:cubicBezTo>
                      <a:pt x="5629" y="128111"/>
                      <a:pt x="7534" y="134779"/>
                      <a:pt x="12296" y="136684"/>
                    </a:cubicBezTo>
                    <a:cubicBezTo>
                      <a:pt x="14201" y="137636"/>
                      <a:pt x="15154" y="137636"/>
                      <a:pt x="17059" y="137636"/>
                    </a:cubicBezTo>
                    <a:cubicBezTo>
                      <a:pt x="20869" y="137636"/>
                      <a:pt x="23726" y="135731"/>
                      <a:pt x="25631" y="132874"/>
                    </a:cubicBezTo>
                    <a:lnTo>
                      <a:pt x="26584" y="131921"/>
                    </a:lnTo>
                    <a:cubicBezTo>
                      <a:pt x="43729" y="101441"/>
                      <a:pt x="58016" y="62389"/>
                      <a:pt x="67541" y="17621"/>
                    </a:cubicBezTo>
                    <a:cubicBezTo>
                      <a:pt x="60874" y="14764"/>
                      <a:pt x="55159" y="10954"/>
                      <a:pt x="49444" y="714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Freihandform: Form 67">
                <a:extLst>
                  <a:ext uri="{FF2B5EF4-FFF2-40B4-BE49-F238E27FC236}">
                    <a16:creationId xmlns:a16="http://schemas.microsoft.com/office/drawing/2014/main" id="{B7F77F73-E8B1-4D77-B171-C2E05AD83827}"/>
                  </a:ext>
                </a:extLst>
              </p:cNvPr>
              <p:cNvSpPr/>
              <p:nvPr/>
            </p:nvSpPr>
            <p:spPr>
              <a:xfrm>
                <a:off x="943041" y="5938018"/>
                <a:ext cx="38550" cy="46260"/>
              </a:xfrm>
              <a:custGeom>
                <a:avLst/>
                <a:gdLst>
                  <a:gd name="connsiteX0" fmla="*/ 19916 w 47625"/>
                  <a:gd name="connsiteY0" fmla="*/ 19526 h 57150"/>
                  <a:gd name="connsiteX1" fmla="*/ 15154 w 47625"/>
                  <a:gd name="connsiteY1" fmla="*/ 28099 h 57150"/>
                  <a:gd name="connsiteX2" fmla="*/ 8486 w 47625"/>
                  <a:gd name="connsiteY2" fmla="*/ 40481 h 57150"/>
                  <a:gd name="connsiteX3" fmla="*/ 12296 w 47625"/>
                  <a:gd name="connsiteY3" fmla="*/ 53816 h 57150"/>
                  <a:gd name="connsiteX4" fmla="*/ 17059 w 47625"/>
                  <a:gd name="connsiteY4" fmla="*/ 55721 h 57150"/>
                  <a:gd name="connsiteX5" fmla="*/ 25631 w 47625"/>
                  <a:gd name="connsiteY5" fmla="*/ 50959 h 57150"/>
                  <a:gd name="connsiteX6" fmla="*/ 33251 w 47625"/>
                  <a:gd name="connsiteY6" fmla="*/ 37624 h 57150"/>
                  <a:gd name="connsiteX7" fmla="*/ 37061 w 47625"/>
                  <a:gd name="connsiteY7" fmla="*/ 30004 h 57150"/>
                  <a:gd name="connsiteX8" fmla="*/ 38014 w 47625"/>
                  <a:gd name="connsiteY8" fmla="*/ 29051 h 57150"/>
                  <a:gd name="connsiteX9" fmla="*/ 49444 w 47625"/>
                  <a:gd name="connsiteY9" fmla="*/ 7144 h 57150"/>
                  <a:gd name="connsiteX10" fmla="*/ 19916 w 47625"/>
                  <a:gd name="connsiteY10" fmla="*/ 1952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625" h="57150">
                    <a:moveTo>
                      <a:pt x="19916" y="19526"/>
                    </a:moveTo>
                    <a:cubicBezTo>
                      <a:pt x="18011" y="22384"/>
                      <a:pt x="17059" y="25241"/>
                      <a:pt x="15154" y="28099"/>
                    </a:cubicBezTo>
                    <a:cubicBezTo>
                      <a:pt x="13249" y="31909"/>
                      <a:pt x="11344" y="35719"/>
                      <a:pt x="8486" y="40481"/>
                    </a:cubicBezTo>
                    <a:cubicBezTo>
                      <a:pt x="5629" y="45244"/>
                      <a:pt x="7534" y="50959"/>
                      <a:pt x="12296" y="53816"/>
                    </a:cubicBezTo>
                    <a:cubicBezTo>
                      <a:pt x="14201" y="54769"/>
                      <a:pt x="16106" y="55721"/>
                      <a:pt x="17059" y="55721"/>
                    </a:cubicBezTo>
                    <a:cubicBezTo>
                      <a:pt x="20869" y="55721"/>
                      <a:pt x="23726" y="53816"/>
                      <a:pt x="25631" y="50959"/>
                    </a:cubicBezTo>
                    <a:cubicBezTo>
                      <a:pt x="28489" y="46196"/>
                      <a:pt x="31346" y="41434"/>
                      <a:pt x="33251" y="37624"/>
                    </a:cubicBezTo>
                    <a:cubicBezTo>
                      <a:pt x="34204" y="34766"/>
                      <a:pt x="36109" y="32861"/>
                      <a:pt x="37061" y="30004"/>
                    </a:cubicBezTo>
                    <a:lnTo>
                      <a:pt x="38014" y="29051"/>
                    </a:lnTo>
                    <a:cubicBezTo>
                      <a:pt x="40871" y="24289"/>
                      <a:pt x="44681" y="16669"/>
                      <a:pt x="49444" y="7144"/>
                    </a:cubicBezTo>
                    <a:lnTo>
                      <a:pt x="19916" y="1952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Freihandform: Form 68">
                <a:extLst>
                  <a:ext uri="{FF2B5EF4-FFF2-40B4-BE49-F238E27FC236}">
                    <a16:creationId xmlns:a16="http://schemas.microsoft.com/office/drawing/2014/main" id="{224885FC-9292-4A07-9767-1E2764D32822}"/>
                  </a:ext>
                </a:extLst>
              </p:cNvPr>
              <p:cNvSpPr/>
              <p:nvPr/>
            </p:nvSpPr>
            <p:spPr>
              <a:xfrm>
                <a:off x="915285" y="5911805"/>
                <a:ext cx="46260" cy="53970"/>
              </a:xfrm>
              <a:custGeom>
                <a:avLst/>
                <a:gdLst>
                  <a:gd name="connsiteX0" fmla="*/ 37061 w 57150"/>
                  <a:gd name="connsiteY0" fmla="*/ 41434 h 66675"/>
                  <a:gd name="connsiteX1" fmla="*/ 37061 w 57150"/>
                  <a:gd name="connsiteY1" fmla="*/ 41434 h 66675"/>
                  <a:gd name="connsiteX2" fmla="*/ 50396 w 57150"/>
                  <a:gd name="connsiteY2" fmla="*/ 14764 h 66675"/>
                  <a:gd name="connsiteX3" fmla="*/ 45634 w 57150"/>
                  <a:gd name="connsiteY3" fmla="*/ 12859 h 66675"/>
                  <a:gd name="connsiteX4" fmla="*/ 32299 w 57150"/>
                  <a:gd name="connsiteY4" fmla="*/ 7144 h 66675"/>
                  <a:gd name="connsiteX5" fmla="*/ 19916 w 57150"/>
                  <a:gd name="connsiteY5" fmla="*/ 31909 h 66675"/>
                  <a:gd name="connsiteX6" fmla="*/ 19916 w 57150"/>
                  <a:gd name="connsiteY6" fmla="*/ 31909 h 66675"/>
                  <a:gd name="connsiteX7" fmla="*/ 14201 w 57150"/>
                  <a:gd name="connsiteY7" fmla="*/ 41434 h 66675"/>
                  <a:gd name="connsiteX8" fmla="*/ 8486 w 57150"/>
                  <a:gd name="connsiteY8" fmla="*/ 51911 h 66675"/>
                  <a:gd name="connsiteX9" fmla="*/ 12296 w 57150"/>
                  <a:gd name="connsiteY9" fmla="*/ 65246 h 66675"/>
                  <a:gd name="connsiteX10" fmla="*/ 17059 w 57150"/>
                  <a:gd name="connsiteY10" fmla="*/ 66199 h 66675"/>
                  <a:gd name="connsiteX11" fmla="*/ 25631 w 57150"/>
                  <a:gd name="connsiteY11" fmla="*/ 61436 h 66675"/>
                  <a:gd name="connsiteX12" fmla="*/ 32299 w 57150"/>
                  <a:gd name="connsiteY12" fmla="*/ 50006 h 66675"/>
                  <a:gd name="connsiteX13" fmla="*/ 37061 w 57150"/>
                  <a:gd name="connsiteY13" fmla="*/ 4143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150" h="66675">
                    <a:moveTo>
                      <a:pt x="37061" y="41434"/>
                    </a:moveTo>
                    <a:lnTo>
                      <a:pt x="37061" y="41434"/>
                    </a:lnTo>
                    <a:cubicBezTo>
                      <a:pt x="39919" y="35719"/>
                      <a:pt x="44681" y="27146"/>
                      <a:pt x="50396" y="14764"/>
                    </a:cubicBezTo>
                    <a:lnTo>
                      <a:pt x="45634" y="12859"/>
                    </a:lnTo>
                    <a:cubicBezTo>
                      <a:pt x="40871" y="10954"/>
                      <a:pt x="36109" y="9049"/>
                      <a:pt x="32299" y="7144"/>
                    </a:cubicBezTo>
                    <a:cubicBezTo>
                      <a:pt x="26584" y="18574"/>
                      <a:pt x="22774" y="27146"/>
                      <a:pt x="19916" y="31909"/>
                    </a:cubicBezTo>
                    <a:lnTo>
                      <a:pt x="19916" y="31909"/>
                    </a:lnTo>
                    <a:cubicBezTo>
                      <a:pt x="18011" y="35719"/>
                      <a:pt x="16106" y="38576"/>
                      <a:pt x="14201" y="41434"/>
                    </a:cubicBezTo>
                    <a:cubicBezTo>
                      <a:pt x="12296" y="45244"/>
                      <a:pt x="10391" y="48101"/>
                      <a:pt x="8486" y="51911"/>
                    </a:cubicBezTo>
                    <a:cubicBezTo>
                      <a:pt x="5629" y="56674"/>
                      <a:pt x="7534" y="62389"/>
                      <a:pt x="12296" y="65246"/>
                    </a:cubicBezTo>
                    <a:cubicBezTo>
                      <a:pt x="14201" y="66199"/>
                      <a:pt x="16106" y="66199"/>
                      <a:pt x="17059" y="66199"/>
                    </a:cubicBezTo>
                    <a:cubicBezTo>
                      <a:pt x="20869" y="66199"/>
                      <a:pt x="23726" y="64294"/>
                      <a:pt x="25631" y="61436"/>
                    </a:cubicBezTo>
                    <a:cubicBezTo>
                      <a:pt x="28489" y="57626"/>
                      <a:pt x="30394" y="53816"/>
                      <a:pt x="32299" y="50006"/>
                    </a:cubicBezTo>
                    <a:cubicBezTo>
                      <a:pt x="33251" y="48101"/>
                      <a:pt x="35156" y="45244"/>
                      <a:pt x="37061" y="4143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2" name="Freihandform: Form 69">
              <a:extLst>
                <a:ext uri="{FF2B5EF4-FFF2-40B4-BE49-F238E27FC236}">
                  <a16:creationId xmlns:a16="http://schemas.microsoft.com/office/drawing/2014/main" id="{21830B64-5419-4AFF-96BD-FBB4CD7554A8}"/>
                </a:ext>
              </a:extLst>
            </p:cNvPr>
            <p:cNvSpPr/>
            <p:nvPr/>
          </p:nvSpPr>
          <p:spPr>
            <a:xfrm>
              <a:off x="895555" y="5618827"/>
              <a:ext cx="161908" cy="316107"/>
            </a:xfrm>
            <a:custGeom>
              <a:avLst/>
              <a:gdLst>
                <a:gd name="connsiteX0" fmla="*/ 154781 w 200025"/>
                <a:gd name="connsiteY0" fmla="*/ 67151 h 390525"/>
                <a:gd name="connsiteX1" fmla="*/ 84296 w 200025"/>
                <a:gd name="connsiteY1" fmla="*/ 67151 h 390525"/>
                <a:gd name="connsiteX2" fmla="*/ 7144 w 200025"/>
                <a:gd name="connsiteY2" fmla="*/ 144304 h 390525"/>
                <a:gd name="connsiteX3" fmla="*/ 71914 w 200025"/>
                <a:gd name="connsiteY3" fmla="*/ 218599 h 390525"/>
                <a:gd name="connsiteX4" fmla="*/ 70009 w 200025"/>
                <a:gd name="connsiteY4" fmla="*/ 176689 h 390525"/>
                <a:gd name="connsiteX5" fmla="*/ 52864 w 200025"/>
                <a:gd name="connsiteY5" fmla="*/ 150971 h 390525"/>
                <a:gd name="connsiteX6" fmla="*/ 85249 w 200025"/>
                <a:gd name="connsiteY6" fmla="*/ 118586 h 390525"/>
                <a:gd name="connsiteX7" fmla="*/ 181451 w 200025"/>
                <a:gd name="connsiteY7" fmla="*/ 118586 h 390525"/>
                <a:gd name="connsiteX8" fmla="*/ 200501 w 200025"/>
                <a:gd name="connsiteY8" fmla="*/ 99536 h 390525"/>
                <a:gd name="connsiteX9" fmla="*/ 154781 w 200025"/>
                <a:gd name="connsiteY9" fmla="*/ 67151 h 390525"/>
                <a:gd name="connsiteX10" fmla="*/ 146209 w 200025"/>
                <a:gd name="connsiteY10" fmla="*/ 197644 h 390525"/>
                <a:gd name="connsiteX11" fmla="*/ 144304 w 200025"/>
                <a:gd name="connsiteY11" fmla="*/ 239554 h 390525"/>
                <a:gd name="connsiteX12" fmla="*/ 144304 w 200025"/>
                <a:gd name="connsiteY12" fmla="*/ 240506 h 390525"/>
                <a:gd name="connsiteX13" fmla="*/ 148114 w 200025"/>
                <a:gd name="connsiteY13" fmla="*/ 250031 h 390525"/>
                <a:gd name="connsiteX14" fmla="*/ 138589 w 200025"/>
                <a:gd name="connsiteY14" fmla="*/ 262414 h 390525"/>
                <a:gd name="connsiteX15" fmla="*/ 71914 w 200025"/>
                <a:gd name="connsiteY15" fmla="*/ 290989 h 390525"/>
                <a:gd name="connsiteX16" fmla="*/ 47149 w 200025"/>
                <a:gd name="connsiteY16" fmla="*/ 321469 h 390525"/>
                <a:gd name="connsiteX17" fmla="*/ 77629 w 200025"/>
                <a:gd name="connsiteY17" fmla="*/ 357664 h 390525"/>
                <a:gd name="connsiteX18" fmla="*/ 76676 w 200025"/>
                <a:gd name="connsiteY18" fmla="*/ 340519 h 390525"/>
                <a:gd name="connsiteX19" fmla="*/ 70009 w 200025"/>
                <a:gd name="connsiteY19" fmla="*/ 330041 h 390525"/>
                <a:gd name="connsiteX20" fmla="*/ 80486 w 200025"/>
                <a:gd name="connsiteY20" fmla="*/ 317659 h 390525"/>
                <a:gd name="connsiteX21" fmla="*/ 149066 w 200025"/>
                <a:gd name="connsiteY21" fmla="*/ 294799 h 390525"/>
                <a:gd name="connsiteX22" fmla="*/ 186214 w 200025"/>
                <a:gd name="connsiteY22" fmla="*/ 248126 h 390525"/>
                <a:gd name="connsiteX23" fmla="*/ 146209 w 200025"/>
                <a:gd name="connsiteY23" fmla="*/ 197644 h 390525"/>
                <a:gd name="connsiteX24" fmla="*/ 88106 w 200025"/>
                <a:gd name="connsiteY24" fmla="*/ 138589 h 390525"/>
                <a:gd name="connsiteX25" fmla="*/ 92869 w 200025"/>
                <a:gd name="connsiteY25" fmla="*/ 259556 h 390525"/>
                <a:gd name="connsiteX26" fmla="*/ 124301 w 200025"/>
                <a:gd name="connsiteY26" fmla="*/ 246221 h 390525"/>
                <a:gd name="connsiteX27" fmla="*/ 129064 w 200025"/>
                <a:gd name="connsiteY27" fmla="*/ 138589 h 390525"/>
                <a:gd name="connsiteX28" fmla="*/ 88106 w 200025"/>
                <a:gd name="connsiteY28" fmla="*/ 138589 h 390525"/>
                <a:gd name="connsiteX29" fmla="*/ 95726 w 200025"/>
                <a:gd name="connsiteY29" fmla="*/ 332899 h 390525"/>
                <a:gd name="connsiteX30" fmla="*/ 97631 w 200025"/>
                <a:gd name="connsiteY30" fmla="*/ 389096 h 390525"/>
                <a:gd name="connsiteX31" fmla="*/ 118586 w 200025"/>
                <a:gd name="connsiteY31" fmla="*/ 381476 h 390525"/>
                <a:gd name="connsiteX32" fmla="*/ 120491 w 200025"/>
                <a:gd name="connsiteY32" fmla="*/ 325279 h 390525"/>
                <a:gd name="connsiteX33" fmla="*/ 95726 w 200025"/>
                <a:gd name="connsiteY33" fmla="*/ 332899 h 390525"/>
                <a:gd name="connsiteX34" fmla="*/ 82391 w 200025"/>
                <a:gd name="connsiteY34" fmla="*/ 47149 h 390525"/>
                <a:gd name="connsiteX35" fmla="*/ 81439 w 200025"/>
                <a:gd name="connsiteY35" fmla="*/ 33814 h 390525"/>
                <a:gd name="connsiteX36" fmla="*/ 108109 w 200025"/>
                <a:gd name="connsiteY36" fmla="*/ 7144 h 390525"/>
                <a:gd name="connsiteX37" fmla="*/ 134779 w 200025"/>
                <a:gd name="connsiteY37" fmla="*/ 33814 h 390525"/>
                <a:gd name="connsiteX38" fmla="*/ 134779 w 200025"/>
                <a:gd name="connsiteY38" fmla="*/ 47149 h 390525"/>
                <a:gd name="connsiteX39" fmla="*/ 82391 w 200025"/>
                <a:gd name="connsiteY39" fmla="*/ 47149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0025" h="390525">
                  <a:moveTo>
                    <a:pt x="154781" y="67151"/>
                  </a:moveTo>
                  <a:lnTo>
                    <a:pt x="84296" y="67151"/>
                  </a:lnTo>
                  <a:cubicBezTo>
                    <a:pt x="41434" y="67151"/>
                    <a:pt x="7144" y="101441"/>
                    <a:pt x="7144" y="144304"/>
                  </a:cubicBezTo>
                  <a:cubicBezTo>
                    <a:pt x="7144" y="183356"/>
                    <a:pt x="30004" y="208121"/>
                    <a:pt x="71914" y="218599"/>
                  </a:cubicBezTo>
                  <a:lnTo>
                    <a:pt x="70009" y="176689"/>
                  </a:lnTo>
                  <a:cubicBezTo>
                    <a:pt x="59531" y="170974"/>
                    <a:pt x="52864" y="163354"/>
                    <a:pt x="52864" y="150971"/>
                  </a:cubicBezTo>
                  <a:cubicBezTo>
                    <a:pt x="52864" y="131921"/>
                    <a:pt x="68104" y="118586"/>
                    <a:pt x="85249" y="118586"/>
                  </a:cubicBezTo>
                  <a:lnTo>
                    <a:pt x="181451" y="118586"/>
                  </a:lnTo>
                  <a:cubicBezTo>
                    <a:pt x="191929" y="118586"/>
                    <a:pt x="200501" y="110014"/>
                    <a:pt x="200501" y="99536"/>
                  </a:cubicBezTo>
                  <a:cubicBezTo>
                    <a:pt x="199549" y="73819"/>
                    <a:pt x="173831" y="67151"/>
                    <a:pt x="154781" y="67151"/>
                  </a:cubicBezTo>
                  <a:moveTo>
                    <a:pt x="146209" y="197644"/>
                  </a:moveTo>
                  <a:lnTo>
                    <a:pt x="144304" y="239554"/>
                  </a:lnTo>
                  <a:lnTo>
                    <a:pt x="144304" y="240506"/>
                  </a:lnTo>
                  <a:cubicBezTo>
                    <a:pt x="147161" y="243364"/>
                    <a:pt x="148114" y="246221"/>
                    <a:pt x="148114" y="250031"/>
                  </a:cubicBezTo>
                  <a:cubicBezTo>
                    <a:pt x="148114" y="254794"/>
                    <a:pt x="145256" y="258604"/>
                    <a:pt x="138589" y="262414"/>
                  </a:cubicBezTo>
                  <a:cubicBezTo>
                    <a:pt x="130016" y="266224"/>
                    <a:pt x="79534" y="287179"/>
                    <a:pt x="71914" y="290989"/>
                  </a:cubicBezTo>
                  <a:cubicBezTo>
                    <a:pt x="57626" y="297656"/>
                    <a:pt x="47149" y="307181"/>
                    <a:pt x="47149" y="321469"/>
                  </a:cubicBezTo>
                  <a:cubicBezTo>
                    <a:pt x="47149" y="336709"/>
                    <a:pt x="55721" y="349091"/>
                    <a:pt x="77629" y="357664"/>
                  </a:cubicBezTo>
                  <a:lnTo>
                    <a:pt x="76676" y="340519"/>
                  </a:lnTo>
                  <a:cubicBezTo>
                    <a:pt x="73819" y="338614"/>
                    <a:pt x="70009" y="334804"/>
                    <a:pt x="70009" y="330041"/>
                  </a:cubicBezTo>
                  <a:cubicBezTo>
                    <a:pt x="70009" y="323374"/>
                    <a:pt x="74771" y="319564"/>
                    <a:pt x="80486" y="317659"/>
                  </a:cubicBezTo>
                  <a:cubicBezTo>
                    <a:pt x="87154" y="314801"/>
                    <a:pt x="132874" y="300514"/>
                    <a:pt x="149066" y="294799"/>
                  </a:cubicBezTo>
                  <a:cubicBezTo>
                    <a:pt x="174784" y="285274"/>
                    <a:pt x="186214" y="271939"/>
                    <a:pt x="186214" y="248126"/>
                  </a:cubicBezTo>
                  <a:cubicBezTo>
                    <a:pt x="187166" y="226219"/>
                    <a:pt x="170974" y="209074"/>
                    <a:pt x="146209" y="197644"/>
                  </a:cubicBezTo>
                  <a:moveTo>
                    <a:pt x="88106" y="138589"/>
                  </a:moveTo>
                  <a:lnTo>
                    <a:pt x="92869" y="259556"/>
                  </a:lnTo>
                  <a:lnTo>
                    <a:pt x="124301" y="246221"/>
                  </a:lnTo>
                  <a:lnTo>
                    <a:pt x="129064" y="138589"/>
                  </a:lnTo>
                  <a:lnTo>
                    <a:pt x="88106" y="138589"/>
                  </a:lnTo>
                  <a:close/>
                  <a:moveTo>
                    <a:pt x="95726" y="332899"/>
                  </a:moveTo>
                  <a:lnTo>
                    <a:pt x="97631" y="389096"/>
                  </a:lnTo>
                  <a:lnTo>
                    <a:pt x="118586" y="381476"/>
                  </a:lnTo>
                  <a:lnTo>
                    <a:pt x="120491" y="325279"/>
                  </a:lnTo>
                  <a:lnTo>
                    <a:pt x="95726" y="332899"/>
                  </a:lnTo>
                  <a:close/>
                  <a:moveTo>
                    <a:pt x="82391" y="47149"/>
                  </a:moveTo>
                  <a:lnTo>
                    <a:pt x="81439" y="33814"/>
                  </a:lnTo>
                  <a:cubicBezTo>
                    <a:pt x="81439" y="18574"/>
                    <a:pt x="93821" y="7144"/>
                    <a:pt x="108109" y="7144"/>
                  </a:cubicBezTo>
                  <a:cubicBezTo>
                    <a:pt x="123349" y="7144"/>
                    <a:pt x="134779" y="19526"/>
                    <a:pt x="134779" y="33814"/>
                  </a:cubicBezTo>
                  <a:lnTo>
                    <a:pt x="134779" y="47149"/>
                  </a:lnTo>
                  <a:lnTo>
                    <a:pt x="82391" y="47149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2893470C-3929-6B47-978C-CA5E0180C538}"/>
              </a:ext>
            </a:extLst>
          </p:cNvPr>
          <p:cNvGrpSpPr/>
          <p:nvPr/>
        </p:nvGrpSpPr>
        <p:grpSpPr>
          <a:xfrm>
            <a:off x="671172" y="3744044"/>
            <a:ext cx="10474659" cy="2589009"/>
            <a:chOff x="3295649" y="923925"/>
            <a:chExt cx="5546425" cy="1344822"/>
          </a:xfrm>
          <a:solidFill>
            <a:srgbClr val="4472C4"/>
          </a:solidFill>
        </p:grpSpPr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58B5796A-057B-594B-61E3-ABAA3D7147FF}"/>
                </a:ext>
              </a:extLst>
            </p:cNvPr>
            <p:cNvSpPr/>
            <p:nvPr/>
          </p:nvSpPr>
          <p:spPr>
            <a:xfrm>
              <a:off x="3295649" y="923925"/>
              <a:ext cx="3155006" cy="1057275"/>
            </a:xfrm>
            <a:custGeom>
              <a:avLst/>
              <a:gdLst>
                <a:gd name="connsiteX0" fmla="*/ 0 w 3155006"/>
                <a:gd name="connsiteY0" fmla="*/ 0 h 1057275"/>
                <a:gd name="connsiteX1" fmla="*/ 2242498 w 3155006"/>
                <a:gd name="connsiteY1" fmla="*/ 0 h 1057275"/>
                <a:gd name="connsiteX2" fmla="*/ 3155006 w 3155006"/>
                <a:gd name="connsiteY2" fmla="*/ 1057275 h 1057275"/>
                <a:gd name="connsiteX3" fmla="*/ 0 w 3155006"/>
                <a:gd name="connsiteY3" fmla="*/ 105727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5006" h="1057275">
                  <a:moveTo>
                    <a:pt x="0" y="0"/>
                  </a:moveTo>
                  <a:lnTo>
                    <a:pt x="2242498" y="0"/>
                  </a:lnTo>
                  <a:lnTo>
                    <a:pt x="3155006" y="1057275"/>
                  </a:lnTo>
                  <a:lnTo>
                    <a:pt x="0" y="1057275"/>
                  </a:lnTo>
                  <a:close/>
                </a:path>
              </a:pathLst>
            </a:cu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Right Triangle 234">
              <a:extLst>
                <a:ext uri="{FF2B5EF4-FFF2-40B4-BE49-F238E27FC236}">
                  <a16:creationId xmlns:a16="http://schemas.microsoft.com/office/drawing/2014/main" id="{9820F90C-E810-EB2C-F468-B606E34F391A}"/>
                </a:ext>
              </a:extLst>
            </p:cNvPr>
            <p:cNvSpPr/>
            <p:nvPr/>
          </p:nvSpPr>
          <p:spPr>
            <a:xfrm flipH="1" flipV="1">
              <a:off x="3295649" y="1981200"/>
              <a:ext cx="517225" cy="287547"/>
            </a:xfrm>
            <a:prstGeom prst="rtTriangle">
              <a:avLst/>
            </a:prstGeom>
            <a:gradFill>
              <a:gsLst>
                <a:gs pos="100000">
                  <a:srgbClr val="5B9BD5">
                    <a:lumMod val="75000"/>
                  </a:srgbClr>
                </a:gs>
                <a:gs pos="0">
                  <a:srgbClr val="5B9BD5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Right Triangle 235">
              <a:extLst>
                <a:ext uri="{FF2B5EF4-FFF2-40B4-BE49-F238E27FC236}">
                  <a16:creationId xmlns:a16="http://schemas.microsoft.com/office/drawing/2014/main" id="{47D5232C-FAED-CD4E-10A9-B27B9FAB597A}"/>
                </a:ext>
              </a:extLst>
            </p:cNvPr>
            <p:cNvSpPr/>
            <p:nvPr/>
          </p:nvSpPr>
          <p:spPr>
            <a:xfrm flipV="1">
              <a:off x="8320866" y="1981199"/>
              <a:ext cx="521208" cy="287547"/>
            </a:xfrm>
            <a:prstGeom prst="rtTriangle">
              <a:avLst/>
            </a:prstGeom>
            <a:gradFill>
              <a:gsLst>
                <a:gs pos="100000">
                  <a:srgbClr val="70AD47">
                    <a:lumMod val="75000"/>
                  </a:srgbClr>
                </a:gs>
                <a:gs pos="0">
                  <a:srgbClr val="70AD47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69530216-86F6-55F0-A948-AA9A2155BE6A}"/>
                </a:ext>
              </a:extLst>
            </p:cNvPr>
            <p:cNvSpPr/>
            <p:nvPr/>
          </p:nvSpPr>
          <p:spPr>
            <a:xfrm>
              <a:off x="5687068" y="923925"/>
              <a:ext cx="3155006" cy="1057275"/>
            </a:xfrm>
            <a:custGeom>
              <a:avLst/>
              <a:gdLst>
                <a:gd name="connsiteX0" fmla="*/ 0 w 3155006"/>
                <a:gd name="connsiteY0" fmla="*/ 0 h 1057275"/>
                <a:gd name="connsiteX1" fmla="*/ 3155006 w 3155006"/>
                <a:gd name="connsiteY1" fmla="*/ 0 h 1057275"/>
                <a:gd name="connsiteX2" fmla="*/ 3155006 w 3155006"/>
                <a:gd name="connsiteY2" fmla="*/ 1057275 h 1057275"/>
                <a:gd name="connsiteX3" fmla="*/ 912508 w 3155006"/>
                <a:gd name="connsiteY3" fmla="*/ 105727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5006" h="1057275">
                  <a:moveTo>
                    <a:pt x="0" y="0"/>
                  </a:moveTo>
                  <a:lnTo>
                    <a:pt x="3155006" y="0"/>
                  </a:lnTo>
                  <a:lnTo>
                    <a:pt x="3155006" y="1057275"/>
                  </a:lnTo>
                  <a:lnTo>
                    <a:pt x="912508" y="1057275"/>
                  </a:lnTo>
                  <a:close/>
                </a:path>
              </a:pathLst>
            </a:custGeom>
            <a:solidFill>
              <a:srgbClr val="70AD4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8" name="Title 1">
            <a:extLst>
              <a:ext uri="{FF2B5EF4-FFF2-40B4-BE49-F238E27FC236}">
                <a16:creationId xmlns:a16="http://schemas.microsoft.com/office/drawing/2014/main" id="{E3D3C0E8-2EE3-95F9-2F78-97C340BC72B1}"/>
              </a:ext>
            </a:extLst>
          </p:cNvPr>
          <p:cNvSpPr txBox="1">
            <a:spLocks/>
          </p:cNvSpPr>
          <p:nvPr/>
        </p:nvSpPr>
        <p:spPr>
          <a:xfrm>
            <a:off x="-269377" y="2047134"/>
            <a:ext cx="9546454" cy="28058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  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39" name="Subtitle 2">
            <a:extLst>
              <a:ext uri="{FF2B5EF4-FFF2-40B4-BE49-F238E27FC236}">
                <a16:creationId xmlns:a16="http://schemas.microsoft.com/office/drawing/2014/main" id="{0B27DDE1-594B-DAB6-AC4D-2D38AC5F1D4C}"/>
              </a:ext>
            </a:extLst>
          </p:cNvPr>
          <p:cNvSpPr txBox="1">
            <a:spLocks/>
          </p:cNvSpPr>
          <p:nvPr/>
        </p:nvSpPr>
        <p:spPr>
          <a:xfrm>
            <a:off x="1438183" y="3603636"/>
            <a:ext cx="9229817" cy="21609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FE3DD781-4985-CAEB-71E2-C67DDDCDC295}"/>
              </a:ext>
            </a:extLst>
          </p:cNvPr>
          <p:cNvGrpSpPr/>
          <p:nvPr/>
        </p:nvGrpSpPr>
        <p:grpSpPr>
          <a:xfrm>
            <a:off x="741141" y="1140494"/>
            <a:ext cx="9776568" cy="2528721"/>
            <a:chOff x="3295649" y="923925"/>
            <a:chExt cx="5546425" cy="1344822"/>
          </a:xfrm>
          <a:solidFill>
            <a:srgbClr val="4472C4"/>
          </a:solidFill>
        </p:grpSpPr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11BECA62-0C0A-14C0-6F8D-D1F521315344}"/>
                </a:ext>
              </a:extLst>
            </p:cNvPr>
            <p:cNvSpPr/>
            <p:nvPr/>
          </p:nvSpPr>
          <p:spPr>
            <a:xfrm>
              <a:off x="3295649" y="923925"/>
              <a:ext cx="3155006" cy="1057275"/>
            </a:xfrm>
            <a:custGeom>
              <a:avLst/>
              <a:gdLst>
                <a:gd name="connsiteX0" fmla="*/ 0 w 3155006"/>
                <a:gd name="connsiteY0" fmla="*/ 0 h 1057275"/>
                <a:gd name="connsiteX1" fmla="*/ 2242498 w 3155006"/>
                <a:gd name="connsiteY1" fmla="*/ 0 h 1057275"/>
                <a:gd name="connsiteX2" fmla="*/ 3155006 w 3155006"/>
                <a:gd name="connsiteY2" fmla="*/ 1057275 h 1057275"/>
                <a:gd name="connsiteX3" fmla="*/ 0 w 3155006"/>
                <a:gd name="connsiteY3" fmla="*/ 105727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5006" h="1057275">
                  <a:moveTo>
                    <a:pt x="0" y="0"/>
                  </a:moveTo>
                  <a:lnTo>
                    <a:pt x="2242498" y="0"/>
                  </a:lnTo>
                  <a:lnTo>
                    <a:pt x="3155006" y="1057275"/>
                  </a:lnTo>
                  <a:lnTo>
                    <a:pt x="0" y="1057275"/>
                  </a:lnTo>
                  <a:close/>
                </a:path>
              </a:pathLst>
            </a:custGeom>
            <a:solidFill>
              <a:srgbClr val="44546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Right Triangle 242">
              <a:extLst>
                <a:ext uri="{FF2B5EF4-FFF2-40B4-BE49-F238E27FC236}">
                  <a16:creationId xmlns:a16="http://schemas.microsoft.com/office/drawing/2014/main" id="{6271B42C-CCD9-8CE1-B672-E106EA92B660}"/>
                </a:ext>
              </a:extLst>
            </p:cNvPr>
            <p:cNvSpPr/>
            <p:nvPr/>
          </p:nvSpPr>
          <p:spPr>
            <a:xfrm flipH="1" flipV="1">
              <a:off x="3295649" y="1981200"/>
              <a:ext cx="517225" cy="287547"/>
            </a:xfrm>
            <a:prstGeom prst="rtTriangle">
              <a:avLst/>
            </a:prstGeom>
            <a:gradFill flip="none" rotWithShape="1">
              <a:gsLst>
                <a:gs pos="100000">
                  <a:srgbClr val="042432"/>
                </a:gs>
                <a:gs pos="0">
                  <a:srgbClr val="44546A"/>
                </a:gs>
              </a:gsLst>
              <a:lin ang="54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Right Triangle 243">
              <a:extLst>
                <a:ext uri="{FF2B5EF4-FFF2-40B4-BE49-F238E27FC236}">
                  <a16:creationId xmlns:a16="http://schemas.microsoft.com/office/drawing/2014/main" id="{710F1E7A-855C-7C38-747A-F63D1DB467E3}"/>
                </a:ext>
              </a:extLst>
            </p:cNvPr>
            <p:cNvSpPr/>
            <p:nvPr/>
          </p:nvSpPr>
          <p:spPr>
            <a:xfrm flipV="1">
              <a:off x="8320866" y="1981199"/>
              <a:ext cx="521208" cy="287547"/>
            </a:xfrm>
            <a:prstGeom prst="rtTriangle">
              <a:avLst/>
            </a:prstGeom>
            <a:gradFill>
              <a:gsLst>
                <a:gs pos="100000">
                  <a:srgbClr val="4472C4">
                    <a:lumMod val="75000"/>
                  </a:srgbClr>
                </a:gs>
                <a:gs pos="0">
                  <a:srgbClr val="4472C4"/>
                </a:gs>
              </a:gsLst>
              <a:lin ang="54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90D2F4D7-048B-B83E-8321-E2C79374938B}"/>
                </a:ext>
              </a:extLst>
            </p:cNvPr>
            <p:cNvSpPr/>
            <p:nvPr/>
          </p:nvSpPr>
          <p:spPr>
            <a:xfrm>
              <a:off x="5687068" y="923925"/>
              <a:ext cx="3155006" cy="1057275"/>
            </a:xfrm>
            <a:custGeom>
              <a:avLst/>
              <a:gdLst>
                <a:gd name="connsiteX0" fmla="*/ 0 w 3155006"/>
                <a:gd name="connsiteY0" fmla="*/ 0 h 1057275"/>
                <a:gd name="connsiteX1" fmla="*/ 3155006 w 3155006"/>
                <a:gd name="connsiteY1" fmla="*/ 0 h 1057275"/>
                <a:gd name="connsiteX2" fmla="*/ 3155006 w 3155006"/>
                <a:gd name="connsiteY2" fmla="*/ 1057275 h 1057275"/>
                <a:gd name="connsiteX3" fmla="*/ 912508 w 3155006"/>
                <a:gd name="connsiteY3" fmla="*/ 105727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5006" h="1057275">
                  <a:moveTo>
                    <a:pt x="0" y="0"/>
                  </a:moveTo>
                  <a:lnTo>
                    <a:pt x="3155006" y="0"/>
                  </a:lnTo>
                  <a:lnTo>
                    <a:pt x="3155006" y="1057275"/>
                  </a:lnTo>
                  <a:lnTo>
                    <a:pt x="912508" y="1057275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EAB0E5CE-75BF-4A64-E330-907FE7C10312}"/>
              </a:ext>
            </a:extLst>
          </p:cNvPr>
          <p:cNvGrpSpPr/>
          <p:nvPr/>
        </p:nvGrpSpPr>
        <p:grpSpPr>
          <a:xfrm>
            <a:off x="3298031" y="4279301"/>
            <a:ext cx="5544043" cy="100584"/>
            <a:chOff x="3298031" y="2536778"/>
            <a:chExt cx="5544043" cy="100584"/>
          </a:xfrm>
        </p:grpSpPr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8CD06596-1B85-D364-A91A-A1ED64239FB8}"/>
                </a:ext>
              </a:extLst>
            </p:cNvPr>
            <p:cNvSpPr/>
            <p:nvPr/>
          </p:nvSpPr>
          <p:spPr>
            <a:xfrm>
              <a:off x="3298031" y="2536778"/>
              <a:ext cx="3152624" cy="100584"/>
            </a:xfrm>
            <a:prstGeom prst="ellipse">
              <a:avLst/>
            </a:prstGeom>
            <a:gradFill>
              <a:gsLst>
                <a:gs pos="0">
                  <a:sysClr val="windowText" lastClr="000000">
                    <a:alpha val="20000"/>
                  </a:sysClr>
                </a:gs>
                <a:gs pos="100000">
                  <a:sysClr val="windowText" lastClr="000000">
                    <a:gamma/>
                    <a:shade val="46275"/>
                    <a:invGamma/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090F1B0B-771A-8267-04C2-99881B603A7D}"/>
                </a:ext>
              </a:extLst>
            </p:cNvPr>
            <p:cNvSpPr/>
            <p:nvPr/>
          </p:nvSpPr>
          <p:spPr>
            <a:xfrm>
              <a:off x="6591300" y="2536778"/>
              <a:ext cx="2250774" cy="100584"/>
            </a:xfrm>
            <a:prstGeom prst="ellipse">
              <a:avLst/>
            </a:prstGeom>
            <a:gradFill>
              <a:gsLst>
                <a:gs pos="0">
                  <a:sysClr val="windowText" lastClr="000000">
                    <a:alpha val="20000"/>
                  </a:sysClr>
                </a:gs>
                <a:gs pos="100000">
                  <a:sysClr val="windowText" lastClr="000000">
                    <a:gamma/>
                    <a:shade val="46275"/>
                    <a:invGamma/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28BA3B82-D8D9-B2B2-6F0C-06FDB47CA764}"/>
              </a:ext>
            </a:extLst>
          </p:cNvPr>
          <p:cNvGrpSpPr/>
          <p:nvPr/>
        </p:nvGrpSpPr>
        <p:grpSpPr>
          <a:xfrm>
            <a:off x="3298031" y="6021825"/>
            <a:ext cx="5544043" cy="100584"/>
            <a:chOff x="3298031" y="2536778"/>
            <a:chExt cx="5544043" cy="100584"/>
          </a:xfrm>
        </p:grpSpPr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4A6AEFFB-662F-FFBE-D06E-2255E5B3580A}"/>
                </a:ext>
              </a:extLst>
            </p:cNvPr>
            <p:cNvSpPr/>
            <p:nvPr/>
          </p:nvSpPr>
          <p:spPr>
            <a:xfrm>
              <a:off x="3298031" y="2536778"/>
              <a:ext cx="3152624" cy="100584"/>
            </a:xfrm>
            <a:prstGeom prst="ellipse">
              <a:avLst/>
            </a:prstGeom>
            <a:gradFill>
              <a:gsLst>
                <a:gs pos="0">
                  <a:sysClr val="windowText" lastClr="000000">
                    <a:alpha val="20000"/>
                  </a:sysClr>
                </a:gs>
                <a:gs pos="100000">
                  <a:sysClr val="windowText" lastClr="000000">
                    <a:gamma/>
                    <a:shade val="46275"/>
                    <a:invGamma/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14856E38-445B-D17F-2DED-EC4342D70B03}"/>
                </a:ext>
              </a:extLst>
            </p:cNvPr>
            <p:cNvSpPr/>
            <p:nvPr/>
          </p:nvSpPr>
          <p:spPr>
            <a:xfrm>
              <a:off x="6591300" y="2536778"/>
              <a:ext cx="2250774" cy="100584"/>
            </a:xfrm>
            <a:prstGeom prst="ellipse">
              <a:avLst/>
            </a:prstGeom>
            <a:gradFill>
              <a:gsLst>
                <a:gs pos="0">
                  <a:sysClr val="windowText" lastClr="000000">
                    <a:alpha val="20000"/>
                  </a:sysClr>
                </a:gs>
                <a:gs pos="100000">
                  <a:sysClr val="windowText" lastClr="000000">
                    <a:gamma/>
                    <a:shade val="46275"/>
                    <a:invGamma/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9" name="TextBox 258">
            <a:extLst>
              <a:ext uri="{FF2B5EF4-FFF2-40B4-BE49-F238E27FC236}">
                <a16:creationId xmlns:a16="http://schemas.microsoft.com/office/drawing/2014/main" id="{8C1ADD86-A556-D57E-BC6B-4BB285569CE5}"/>
              </a:ext>
            </a:extLst>
          </p:cNvPr>
          <p:cNvSpPr txBox="1"/>
          <p:nvPr/>
        </p:nvSpPr>
        <p:spPr>
          <a:xfrm>
            <a:off x="984736" y="3845812"/>
            <a:ext cx="3799035" cy="1754326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prstClr val="white"/>
                </a:solidFill>
                <a:highlight>
                  <a:srgbClr val="EC6602"/>
                </a:highlight>
              </a:rPr>
              <a:t>POC Produc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tellica 1500 Urine Analyz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LINITEK Novus analyz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prstClr val="white"/>
                </a:solidFill>
              </a:rPr>
              <a:t>DCA Vant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linitek Status </a:t>
            </a: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Lu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8F04FB9E-E289-7896-C9FC-3FCE4FF37991}"/>
              </a:ext>
            </a:extLst>
          </p:cNvPr>
          <p:cNvSpPr txBox="1"/>
          <p:nvPr/>
        </p:nvSpPr>
        <p:spPr>
          <a:xfrm>
            <a:off x="908246" y="1656326"/>
            <a:ext cx="4420557" cy="800218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EC6602"/>
                </a:highlight>
                <a:uLnTx/>
                <a:uFillTx/>
              </a:rPr>
              <a:t>CLS Produc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hemistry and Immunoassay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tellica solutions</a:t>
            </a:r>
          </a:p>
        </p:txBody>
      </p:sp>
      <p:sp>
        <p:nvSpPr>
          <p:cNvPr id="269" name="Stern mit 5 Zacken 32">
            <a:extLst>
              <a:ext uri="{FF2B5EF4-FFF2-40B4-BE49-F238E27FC236}">
                <a16:creationId xmlns:a16="http://schemas.microsoft.com/office/drawing/2014/main" id="{7510385D-019C-ADB4-4ECC-8258B610B82B}"/>
              </a:ext>
            </a:extLst>
          </p:cNvPr>
          <p:cNvSpPr>
            <a:spLocks noChangeAspect="1"/>
          </p:cNvSpPr>
          <p:nvPr/>
        </p:nvSpPr>
        <p:spPr bwMode="gray">
          <a:xfrm>
            <a:off x="758573" y="5652893"/>
            <a:ext cx="347932" cy="317496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solidFill>
            <a:srgbClr val="EC6602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074" name="Picture 2" descr="Semi Automatic Siemens Clinitek Status Urine Analyzers, | ID: 21207945791">
            <a:extLst>
              <a:ext uri="{FF2B5EF4-FFF2-40B4-BE49-F238E27FC236}">
                <a16:creationId xmlns:a16="http://schemas.microsoft.com/office/drawing/2014/main" id="{71A84BA0-E96E-8C85-EA88-418E69C7C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569" y="3815744"/>
            <a:ext cx="1153546" cy="1158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6">
            <a:extLst>
              <a:ext uri="{FF2B5EF4-FFF2-40B4-BE49-F238E27FC236}">
                <a16:creationId xmlns:a16="http://schemas.microsoft.com/office/drawing/2014/main" id="{EF095516-1562-B91E-7F61-46C50246CA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5" r="21047" b="8842"/>
          <a:stretch/>
        </p:blipFill>
        <p:spPr bwMode="auto">
          <a:xfrm>
            <a:off x="7491414" y="3774067"/>
            <a:ext cx="1433649" cy="1266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tellica&amp;trade;1500 Automated Urinalysis System">
            <a:extLst>
              <a:ext uri="{FF2B5EF4-FFF2-40B4-BE49-F238E27FC236}">
                <a16:creationId xmlns:a16="http://schemas.microsoft.com/office/drawing/2014/main" id="{43EDBAB4-247E-4755-C7CC-AD26E580A26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2461" y="3841767"/>
            <a:ext cx="1932575" cy="126600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28638B13-0853-32E3-5DF0-FD3DD6CEB8AF}"/>
              </a:ext>
            </a:extLst>
          </p:cNvPr>
          <p:cNvSpPr txBox="1">
            <a:spLocks/>
          </p:cNvSpPr>
          <p:nvPr/>
        </p:nvSpPr>
        <p:spPr>
          <a:xfrm>
            <a:off x="266859" y="107255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Product Experience</a:t>
            </a:r>
          </a:p>
        </p:txBody>
      </p:sp>
      <p:pic>
        <p:nvPicPr>
          <p:cNvPr id="7" name="Picture 6" descr="Chemistry analyzer connected to automation">
            <a:extLst>
              <a:ext uri="{FF2B5EF4-FFF2-40B4-BE49-F238E27FC236}">
                <a16:creationId xmlns:a16="http://schemas.microsoft.com/office/drawing/2014/main" id="{C9BC8BD0-AC64-CE1B-6843-3B34FDFE31A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93630" y="1232423"/>
            <a:ext cx="2260848" cy="1459593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Atellica® Solution">
            <a:extLst>
              <a:ext uri="{FF2B5EF4-FFF2-40B4-BE49-F238E27FC236}">
                <a16:creationId xmlns:a16="http://schemas.microsoft.com/office/drawing/2014/main" id="{A3AF844B-3556-F9E4-31C6-5DF799635BF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8" y="1226352"/>
            <a:ext cx="2089068" cy="1566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See how Labor Blackholm MVZ increased testing volume by 34% with 30% fewer analyzers">
            <a:extLst>
              <a:ext uri="{FF2B5EF4-FFF2-40B4-BE49-F238E27FC236}">
                <a16:creationId xmlns:a16="http://schemas.microsoft.com/office/drawing/2014/main" id="{456E924C-5487-9A94-40FC-6C0A5B7F124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765" y="1287135"/>
            <a:ext cx="2771105" cy="15057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53340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9F055C5-D5FC-4806-8D8B-C9FA38CD05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9F055C5-D5FC-4806-8D8B-C9FA38CD05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09BDB0E-919E-43BD-81A6-87C4E7F376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grpSp>
        <p:nvGrpSpPr>
          <p:cNvPr id="58" name="Gruppieren 29" hidden="1">
            <a:extLst>
              <a:ext uri="{FF2B5EF4-FFF2-40B4-BE49-F238E27FC236}">
                <a16:creationId xmlns:a16="http://schemas.microsoft.com/office/drawing/2014/main" id="{297C6F23-3FA4-4D69-98BC-3104F423D84C}"/>
              </a:ext>
            </a:extLst>
          </p:cNvPr>
          <p:cNvGrpSpPr/>
          <p:nvPr/>
        </p:nvGrpSpPr>
        <p:grpSpPr>
          <a:xfrm>
            <a:off x="1305307" y="5365620"/>
            <a:ext cx="592126" cy="592891"/>
            <a:chOff x="1344994" y="5505490"/>
            <a:chExt cx="592126" cy="592891"/>
          </a:xfrm>
        </p:grpSpPr>
        <p:sp>
          <p:nvSpPr>
            <p:cNvPr id="109" name="Freihandform: Form 48">
              <a:extLst>
                <a:ext uri="{FF2B5EF4-FFF2-40B4-BE49-F238E27FC236}">
                  <a16:creationId xmlns:a16="http://schemas.microsoft.com/office/drawing/2014/main" id="{4C2A01D6-551F-46DD-B491-717F9A14EECF}"/>
                </a:ext>
              </a:extLst>
            </p:cNvPr>
            <p:cNvSpPr/>
            <p:nvPr/>
          </p:nvSpPr>
          <p:spPr>
            <a:xfrm>
              <a:off x="1344994" y="5505490"/>
              <a:ext cx="592126" cy="592891"/>
            </a:xfrm>
            <a:custGeom>
              <a:avLst/>
              <a:gdLst>
                <a:gd name="connsiteX0" fmla="*/ 315615 w 627156"/>
                <a:gd name="connsiteY0" fmla="*/ 625121 h 627156"/>
                <a:gd name="connsiteX1" fmla="*/ 625121 w 627156"/>
                <a:gd name="connsiteY1" fmla="*/ 315615 h 627156"/>
                <a:gd name="connsiteX2" fmla="*/ 315615 w 627156"/>
                <a:gd name="connsiteY2" fmla="*/ 6109 h 627156"/>
                <a:gd name="connsiteX3" fmla="*/ 6109 w 627156"/>
                <a:gd name="connsiteY3" fmla="*/ 315615 h 627156"/>
                <a:gd name="connsiteX4" fmla="*/ 315615 w 627156"/>
                <a:gd name="connsiteY4" fmla="*/ 625121 h 627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156" h="627156">
                  <a:moveTo>
                    <a:pt x="315615" y="625121"/>
                  </a:moveTo>
                  <a:cubicBezTo>
                    <a:pt x="486657" y="625121"/>
                    <a:pt x="625121" y="486657"/>
                    <a:pt x="625121" y="315615"/>
                  </a:cubicBezTo>
                  <a:cubicBezTo>
                    <a:pt x="625121" y="144572"/>
                    <a:pt x="486657" y="6109"/>
                    <a:pt x="315615" y="6109"/>
                  </a:cubicBezTo>
                  <a:cubicBezTo>
                    <a:pt x="144572" y="6109"/>
                    <a:pt x="6109" y="144572"/>
                    <a:pt x="6109" y="315615"/>
                  </a:cubicBezTo>
                  <a:cubicBezTo>
                    <a:pt x="6109" y="486657"/>
                    <a:pt x="144572" y="625121"/>
                    <a:pt x="315615" y="625121"/>
                  </a:cubicBezTo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ihandform: Form 49">
              <a:extLst>
                <a:ext uri="{FF2B5EF4-FFF2-40B4-BE49-F238E27FC236}">
                  <a16:creationId xmlns:a16="http://schemas.microsoft.com/office/drawing/2014/main" id="{F2E8835F-D55A-4F60-9497-A2F1BCBE3AE8}"/>
                </a:ext>
              </a:extLst>
            </p:cNvPr>
            <p:cNvSpPr/>
            <p:nvPr/>
          </p:nvSpPr>
          <p:spPr>
            <a:xfrm>
              <a:off x="1443423" y="5764977"/>
              <a:ext cx="399877" cy="92399"/>
            </a:xfrm>
            <a:custGeom>
              <a:avLst/>
              <a:gdLst>
                <a:gd name="connsiteX0" fmla="*/ 420684 w 423534"/>
                <a:gd name="connsiteY0" fmla="*/ 49277 h 97738"/>
                <a:gd name="connsiteX1" fmla="*/ 386475 w 423534"/>
                <a:gd name="connsiteY1" fmla="*/ 86743 h 97738"/>
                <a:gd name="connsiteX2" fmla="*/ 372629 w 423534"/>
                <a:gd name="connsiteY2" fmla="*/ 92445 h 97738"/>
                <a:gd name="connsiteX3" fmla="*/ 6109 w 423534"/>
                <a:gd name="connsiteY3" fmla="*/ 92445 h 97738"/>
                <a:gd name="connsiteX4" fmla="*/ 40317 w 423534"/>
                <a:gd name="connsiteY4" fmla="*/ 49277 h 97738"/>
                <a:gd name="connsiteX5" fmla="*/ 6109 w 423534"/>
                <a:gd name="connsiteY5" fmla="*/ 6109 h 97738"/>
                <a:gd name="connsiteX6" fmla="*/ 372629 w 423534"/>
                <a:gd name="connsiteY6" fmla="*/ 6109 h 97738"/>
                <a:gd name="connsiteX7" fmla="*/ 386475 w 423534"/>
                <a:gd name="connsiteY7" fmla="*/ 11810 h 97738"/>
                <a:gd name="connsiteX8" fmla="*/ 420684 w 423534"/>
                <a:gd name="connsiteY8" fmla="*/ 49277 h 9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3534" h="97738">
                  <a:moveTo>
                    <a:pt x="420684" y="49277"/>
                  </a:moveTo>
                  <a:cubicBezTo>
                    <a:pt x="420684" y="49277"/>
                    <a:pt x="387290" y="85929"/>
                    <a:pt x="386475" y="86743"/>
                  </a:cubicBezTo>
                  <a:cubicBezTo>
                    <a:pt x="383217" y="90816"/>
                    <a:pt x="379145" y="92445"/>
                    <a:pt x="372629" y="92445"/>
                  </a:cubicBezTo>
                  <a:lnTo>
                    <a:pt x="6109" y="92445"/>
                  </a:lnTo>
                  <a:lnTo>
                    <a:pt x="40317" y="49277"/>
                  </a:lnTo>
                  <a:lnTo>
                    <a:pt x="6109" y="6109"/>
                  </a:lnTo>
                  <a:lnTo>
                    <a:pt x="372629" y="6109"/>
                  </a:lnTo>
                  <a:cubicBezTo>
                    <a:pt x="379145" y="6109"/>
                    <a:pt x="383217" y="8552"/>
                    <a:pt x="386475" y="11810"/>
                  </a:cubicBezTo>
                  <a:cubicBezTo>
                    <a:pt x="387290" y="12625"/>
                    <a:pt x="420684" y="49277"/>
                    <a:pt x="420684" y="49277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ihandform: Form 50">
              <a:extLst>
                <a:ext uri="{FF2B5EF4-FFF2-40B4-BE49-F238E27FC236}">
                  <a16:creationId xmlns:a16="http://schemas.microsoft.com/office/drawing/2014/main" id="{130EA4E2-4542-476C-BFD8-E7D5217BA35F}"/>
                </a:ext>
              </a:extLst>
            </p:cNvPr>
            <p:cNvSpPr/>
            <p:nvPr/>
          </p:nvSpPr>
          <p:spPr>
            <a:xfrm>
              <a:off x="1477261" y="5602508"/>
              <a:ext cx="330667" cy="369594"/>
            </a:xfrm>
            <a:custGeom>
              <a:avLst/>
              <a:gdLst>
                <a:gd name="connsiteX0" fmla="*/ 212989 w 350230"/>
                <a:gd name="connsiteY0" fmla="*/ 327832 h 390954"/>
                <a:gd name="connsiteX1" fmla="*/ 212989 w 350230"/>
                <a:gd name="connsiteY1" fmla="*/ 373443 h 390954"/>
                <a:gd name="connsiteX2" fmla="*/ 201586 w 350230"/>
                <a:gd name="connsiteY2" fmla="*/ 384846 h 390954"/>
                <a:gd name="connsiteX3" fmla="*/ 155975 w 350230"/>
                <a:gd name="connsiteY3" fmla="*/ 384846 h 390954"/>
                <a:gd name="connsiteX4" fmla="*/ 144572 w 350230"/>
                <a:gd name="connsiteY4" fmla="*/ 373443 h 390954"/>
                <a:gd name="connsiteX5" fmla="*/ 144572 w 350230"/>
                <a:gd name="connsiteY5" fmla="*/ 327832 h 390954"/>
                <a:gd name="connsiteX6" fmla="*/ 155975 w 350230"/>
                <a:gd name="connsiteY6" fmla="*/ 316429 h 390954"/>
                <a:gd name="connsiteX7" fmla="*/ 170635 w 350230"/>
                <a:gd name="connsiteY7" fmla="*/ 316429 h 390954"/>
                <a:gd name="connsiteX8" fmla="*/ 170635 w 350230"/>
                <a:gd name="connsiteY8" fmla="*/ 282221 h 390954"/>
                <a:gd name="connsiteX9" fmla="*/ 187740 w 350230"/>
                <a:gd name="connsiteY9" fmla="*/ 282221 h 390954"/>
                <a:gd name="connsiteX10" fmla="*/ 187740 w 350230"/>
                <a:gd name="connsiteY10" fmla="*/ 316429 h 390954"/>
                <a:gd name="connsiteX11" fmla="*/ 202401 w 350230"/>
                <a:gd name="connsiteY11" fmla="*/ 316429 h 390954"/>
                <a:gd name="connsiteX12" fmla="*/ 212989 w 350230"/>
                <a:gd name="connsiteY12" fmla="*/ 327832 h 390954"/>
                <a:gd name="connsiteX13" fmla="*/ 350638 w 350230"/>
                <a:gd name="connsiteY13" fmla="*/ 327832 h 390954"/>
                <a:gd name="connsiteX14" fmla="*/ 350638 w 350230"/>
                <a:gd name="connsiteY14" fmla="*/ 373443 h 390954"/>
                <a:gd name="connsiteX15" fmla="*/ 339235 w 350230"/>
                <a:gd name="connsiteY15" fmla="*/ 384846 h 390954"/>
                <a:gd name="connsiteX16" fmla="*/ 293623 w 350230"/>
                <a:gd name="connsiteY16" fmla="*/ 384846 h 390954"/>
                <a:gd name="connsiteX17" fmla="*/ 282220 w 350230"/>
                <a:gd name="connsiteY17" fmla="*/ 373443 h 390954"/>
                <a:gd name="connsiteX18" fmla="*/ 282220 w 350230"/>
                <a:gd name="connsiteY18" fmla="*/ 327832 h 390954"/>
                <a:gd name="connsiteX19" fmla="*/ 293623 w 350230"/>
                <a:gd name="connsiteY19" fmla="*/ 316429 h 390954"/>
                <a:gd name="connsiteX20" fmla="*/ 308284 w 350230"/>
                <a:gd name="connsiteY20" fmla="*/ 316429 h 390954"/>
                <a:gd name="connsiteX21" fmla="*/ 308284 w 350230"/>
                <a:gd name="connsiteY21" fmla="*/ 282221 h 390954"/>
                <a:gd name="connsiteX22" fmla="*/ 325388 w 350230"/>
                <a:gd name="connsiteY22" fmla="*/ 282221 h 390954"/>
                <a:gd name="connsiteX23" fmla="*/ 325388 w 350230"/>
                <a:gd name="connsiteY23" fmla="*/ 316429 h 390954"/>
                <a:gd name="connsiteX24" fmla="*/ 340049 w 350230"/>
                <a:gd name="connsiteY24" fmla="*/ 316429 h 390954"/>
                <a:gd name="connsiteX25" fmla="*/ 350638 w 350230"/>
                <a:gd name="connsiteY25" fmla="*/ 327832 h 390954"/>
                <a:gd name="connsiteX26" fmla="*/ 74526 w 350230"/>
                <a:gd name="connsiteY26" fmla="*/ 327832 h 390954"/>
                <a:gd name="connsiteX27" fmla="*/ 74526 w 350230"/>
                <a:gd name="connsiteY27" fmla="*/ 373443 h 390954"/>
                <a:gd name="connsiteX28" fmla="*/ 63123 w 350230"/>
                <a:gd name="connsiteY28" fmla="*/ 384846 h 390954"/>
                <a:gd name="connsiteX29" fmla="*/ 17511 w 350230"/>
                <a:gd name="connsiteY29" fmla="*/ 384846 h 390954"/>
                <a:gd name="connsiteX30" fmla="*/ 6109 w 350230"/>
                <a:gd name="connsiteY30" fmla="*/ 373443 h 390954"/>
                <a:gd name="connsiteX31" fmla="*/ 6109 w 350230"/>
                <a:gd name="connsiteY31" fmla="*/ 327832 h 390954"/>
                <a:gd name="connsiteX32" fmla="*/ 17511 w 350230"/>
                <a:gd name="connsiteY32" fmla="*/ 316429 h 390954"/>
                <a:gd name="connsiteX33" fmla="*/ 32172 w 350230"/>
                <a:gd name="connsiteY33" fmla="*/ 316429 h 390954"/>
                <a:gd name="connsiteX34" fmla="*/ 32172 w 350230"/>
                <a:gd name="connsiteY34" fmla="*/ 282221 h 390954"/>
                <a:gd name="connsiteX35" fmla="*/ 49277 w 350230"/>
                <a:gd name="connsiteY35" fmla="*/ 282221 h 390954"/>
                <a:gd name="connsiteX36" fmla="*/ 49277 w 350230"/>
                <a:gd name="connsiteY36" fmla="*/ 316429 h 390954"/>
                <a:gd name="connsiteX37" fmla="*/ 63937 w 350230"/>
                <a:gd name="connsiteY37" fmla="*/ 316429 h 390954"/>
                <a:gd name="connsiteX38" fmla="*/ 74526 w 350230"/>
                <a:gd name="connsiteY38" fmla="*/ 327832 h 390954"/>
                <a:gd name="connsiteX39" fmla="*/ 213803 w 350230"/>
                <a:gd name="connsiteY39" fmla="*/ 108734 h 390954"/>
                <a:gd name="connsiteX40" fmla="*/ 190998 w 350230"/>
                <a:gd name="connsiteY40" fmla="*/ 108734 h 390954"/>
                <a:gd name="connsiteX41" fmla="*/ 190998 w 350230"/>
                <a:gd name="connsiteY41" fmla="*/ 75340 h 390954"/>
                <a:gd name="connsiteX42" fmla="*/ 164120 w 350230"/>
                <a:gd name="connsiteY42" fmla="*/ 75340 h 390954"/>
                <a:gd name="connsiteX43" fmla="*/ 164120 w 350230"/>
                <a:gd name="connsiteY43" fmla="*/ 108734 h 390954"/>
                <a:gd name="connsiteX44" fmla="*/ 142128 w 350230"/>
                <a:gd name="connsiteY44" fmla="*/ 108734 h 390954"/>
                <a:gd name="connsiteX45" fmla="*/ 142128 w 350230"/>
                <a:gd name="connsiteY45" fmla="*/ 22398 h 390954"/>
                <a:gd name="connsiteX46" fmla="*/ 164120 w 350230"/>
                <a:gd name="connsiteY46" fmla="*/ 22398 h 390954"/>
                <a:gd name="connsiteX47" fmla="*/ 164120 w 350230"/>
                <a:gd name="connsiteY47" fmla="*/ 55793 h 390954"/>
                <a:gd name="connsiteX48" fmla="*/ 190998 w 350230"/>
                <a:gd name="connsiteY48" fmla="*/ 55793 h 390954"/>
                <a:gd name="connsiteX49" fmla="*/ 190998 w 350230"/>
                <a:gd name="connsiteY49" fmla="*/ 22398 h 390954"/>
                <a:gd name="connsiteX50" fmla="*/ 213803 w 350230"/>
                <a:gd name="connsiteY50" fmla="*/ 22398 h 390954"/>
                <a:gd name="connsiteX51" fmla="*/ 213803 w 350230"/>
                <a:gd name="connsiteY51" fmla="*/ 108734 h 390954"/>
                <a:gd name="connsiteX52" fmla="*/ 238238 w 350230"/>
                <a:gd name="connsiteY52" fmla="*/ 74526 h 390954"/>
                <a:gd name="connsiteX53" fmla="*/ 238238 w 350230"/>
                <a:gd name="connsiteY53" fmla="*/ 24027 h 390954"/>
                <a:gd name="connsiteX54" fmla="*/ 233351 w 350230"/>
                <a:gd name="connsiteY54" fmla="*/ 10996 h 390954"/>
                <a:gd name="connsiteX55" fmla="*/ 220319 w 350230"/>
                <a:gd name="connsiteY55" fmla="*/ 6109 h 390954"/>
                <a:gd name="connsiteX56" fmla="*/ 135612 w 350230"/>
                <a:gd name="connsiteY56" fmla="*/ 6109 h 390954"/>
                <a:gd name="connsiteX57" fmla="*/ 122581 w 350230"/>
                <a:gd name="connsiteY57" fmla="*/ 10996 h 390954"/>
                <a:gd name="connsiteX58" fmla="*/ 117694 w 350230"/>
                <a:gd name="connsiteY58" fmla="*/ 24027 h 390954"/>
                <a:gd name="connsiteX59" fmla="*/ 117694 w 350230"/>
                <a:gd name="connsiteY59" fmla="*/ 75340 h 390954"/>
                <a:gd name="connsiteX60" fmla="*/ 31358 w 350230"/>
                <a:gd name="connsiteY60" fmla="*/ 75340 h 390954"/>
                <a:gd name="connsiteX61" fmla="*/ 31358 w 350230"/>
                <a:gd name="connsiteY61" fmla="*/ 161676 h 390954"/>
                <a:gd name="connsiteX62" fmla="*/ 48462 w 350230"/>
                <a:gd name="connsiteY62" fmla="*/ 161676 h 390954"/>
                <a:gd name="connsiteX63" fmla="*/ 48462 w 350230"/>
                <a:gd name="connsiteY63" fmla="*/ 92445 h 390954"/>
                <a:gd name="connsiteX64" fmla="*/ 117694 w 350230"/>
                <a:gd name="connsiteY64" fmla="*/ 92445 h 390954"/>
                <a:gd name="connsiteX65" fmla="*/ 117694 w 350230"/>
                <a:gd name="connsiteY65" fmla="*/ 108734 h 390954"/>
                <a:gd name="connsiteX66" fmla="*/ 122581 w 350230"/>
                <a:gd name="connsiteY66" fmla="*/ 121766 h 390954"/>
                <a:gd name="connsiteX67" fmla="*/ 135612 w 350230"/>
                <a:gd name="connsiteY67" fmla="*/ 126653 h 390954"/>
                <a:gd name="connsiteX68" fmla="*/ 169007 w 350230"/>
                <a:gd name="connsiteY68" fmla="*/ 126653 h 390954"/>
                <a:gd name="connsiteX69" fmla="*/ 169007 w 350230"/>
                <a:gd name="connsiteY69" fmla="*/ 160862 h 390954"/>
                <a:gd name="connsiteX70" fmla="*/ 186111 w 350230"/>
                <a:gd name="connsiteY70" fmla="*/ 160862 h 390954"/>
                <a:gd name="connsiteX71" fmla="*/ 186111 w 350230"/>
                <a:gd name="connsiteY71" fmla="*/ 126653 h 390954"/>
                <a:gd name="connsiteX72" fmla="*/ 219505 w 350230"/>
                <a:gd name="connsiteY72" fmla="*/ 126653 h 390954"/>
                <a:gd name="connsiteX73" fmla="*/ 232537 w 350230"/>
                <a:gd name="connsiteY73" fmla="*/ 121766 h 390954"/>
                <a:gd name="connsiteX74" fmla="*/ 237424 w 350230"/>
                <a:gd name="connsiteY74" fmla="*/ 108734 h 390954"/>
                <a:gd name="connsiteX75" fmla="*/ 237424 w 350230"/>
                <a:gd name="connsiteY75" fmla="*/ 92445 h 390954"/>
                <a:gd name="connsiteX76" fmla="*/ 306655 w 350230"/>
                <a:gd name="connsiteY76" fmla="*/ 92445 h 390954"/>
                <a:gd name="connsiteX77" fmla="*/ 306655 w 350230"/>
                <a:gd name="connsiteY77" fmla="*/ 161676 h 390954"/>
                <a:gd name="connsiteX78" fmla="*/ 323759 w 350230"/>
                <a:gd name="connsiteY78" fmla="*/ 161676 h 390954"/>
                <a:gd name="connsiteX79" fmla="*/ 323759 w 350230"/>
                <a:gd name="connsiteY79" fmla="*/ 74526 h 390954"/>
                <a:gd name="connsiteX80" fmla="*/ 238238 w 350230"/>
                <a:gd name="connsiteY80" fmla="*/ 74526 h 39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50230" h="390954">
                  <a:moveTo>
                    <a:pt x="212989" y="327832"/>
                  </a:moveTo>
                  <a:lnTo>
                    <a:pt x="212989" y="373443"/>
                  </a:lnTo>
                  <a:cubicBezTo>
                    <a:pt x="212989" y="379959"/>
                    <a:pt x="208102" y="384846"/>
                    <a:pt x="201586" y="384846"/>
                  </a:cubicBezTo>
                  <a:lnTo>
                    <a:pt x="155975" y="384846"/>
                  </a:lnTo>
                  <a:cubicBezTo>
                    <a:pt x="149459" y="384846"/>
                    <a:pt x="144572" y="379959"/>
                    <a:pt x="144572" y="373443"/>
                  </a:cubicBezTo>
                  <a:lnTo>
                    <a:pt x="144572" y="327832"/>
                  </a:lnTo>
                  <a:cubicBezTo>
                    <a:pt x="144572" y="321316"/>
                    <a:pt x="149459" y="316429"/>
                    <a:pt x="155975" y="316429"/>
                  </a:cubicBezTo>
                  <a:lnTo>
                    <a:pt x="170635" y="316429"/>
                  </a:lnTo>
                  <a:lnTo>
                    <a:pt x="170635" y="282221"/>
                  </a:lnTo>
                  <a:lnTo>
                    <a:pt x="187740" y="282221"/>
                  </a:lnTo>
                  <a:lnTo>
                    <a:pt x="187740" y="316429"/>
                  </a:lnTo>
                  <a:lnTo>
                    <a:pt x="202401" y="316429"/>
                  </a:lnTo>
                  <a:cubicBezTo>
                    <a:pt x="207287" y="315615"/>
                    <a:pt x="212989" y="321316"/>
                    <a:pt x="212989" y="327832"/>
                  </a:cubicBezTo>
                  <a:moveTo>
                    <a:pt x="350638" y="327832"/>
                  </a:moveTo>
                  <a:lnTo>
                    <a:pt x="350638" y="373443"/>
                  </a:lnTo>
                  <a:cubicBezTo>
                    <a:pt x="350638" y="379959"/>
                    <a:pt x="345751" y="384846"/>
                    <a:pt x="339235" y="384846"/>
                  </a:cubicBezTo>
                  <a:lnTo>
                    <a:pt x="293623" y="384846"/>
                  </a:lnTo>
                  <a:cubicBezTo>
                    <a:pt x="287107" y="384846"/>
                    <a:pt x="282220" y="379959"/>
                    <a:pt x="282220" y="373443"/>
                  </a:cubicBezTo>
                  <a:lnTo>
                    <a:pt x="282220" y="327832"/>
                  </a:lnTo>
                  <a:cubicBezTo>
                    <a:pt x="282220" y="321316"/>
                    <a:pt x="287107" y="316429"/>
                    <a:pt x="293623" y="316429"/>
                  </a:cubicBezTo>
                  <a:lnTo>
                    <a:pt x="308284" y="316429"/>
                  </a:lnTo>
                  <a:lnTo>
                    <a:pt x="308284" y="282221"/>
                  </a:lnTo>
                  <a:lnTo>
                    <a:pt x="325388" y="282221"/>
                  </a:lnTo>
                  <a:lnTo>
                    <a:pt x="325388" y="316429"/>
                  </a:lnTo>
                  <a:lnTo>
                    <a:pt x="340049" y="316429"/>
                  </a:lnTo>
                  <a:cubicBezTo>
                    <a:pt x="345751" y="315615"/>
                    <a:pt x="350638" y="321316"/>
                    <a:pt x="350638" y="327832"/>
                  </a:cubicBezTo>
                  <a:moveTo>
                    <a:pt x="74526" y="327832"/>
                  </a:moveTo>
                  <a:lnTo>
                    <a:pt x="74526" y="373443"/>
                  </a:lnTo>
                  <a:cubicBezTo>
                    <a:pt x="74526" y="379959"/>
                    <a:pt x="69639" y="384846"/>
                    <a:pt x="63123" y="384846"/>
                  </a:cubicBezTo>
                  <a:lnTo>
                    <a:pt x="17511" y="384846"/>
                  </a:lnTo>
                  <a:cubicBezTo>
                    <a:pt x="10996" y="384846"/>
                    <a:pt x="6109" y="379959"/>
                    <a:pt x="6109" y="373443"/>
                  </a:cubicBezTo>
                  <a:lnTo>
                    <a:pt x="6109" y="327832"/>
                  </a:lnTo>
                  <a:cubicBezTo>
                    <a:pt x="6109" y="321316"/>
                    <a:pt x="10996" y="316429"/>
                    <a:pt x="17511" y="316429"/>
                  </a:cubicBezTo>
                  <a:lnTo>
                    <a:pt x="32172" y="316429"/>
                  </a:lnTo>
                  <a:lnTo>
                    <a:pt x="32172" y="282221"/>
                  </a:lnTo>
                  <a:lnTo>
                    <a:pt x="49277" y="282221"/>
                  </a:lnTo>
                  <a:lnTo>
                    <a:pt x="49277" y="316429"/>
                  </a:lnTo>
                  <a:lnTo>
                    <a:pt x="63937" y="316429"/>
                  </a:lnTo>
                  <a:cubicBezTo>
                    <a:pt x="69639" y="315615"/>
                    <a:pt x="74526" y="321316"/>
                    <a:pt x="74526" y="327832"/>
                  </a:cubicBezTo>
                  <a:moveTo>
                    <a:pt x="213803" y="108734"/>
                  </a:moveTo>
                  <a:lnTo>
                    <a:pt x="190998" y="108734"/>
                  </a:lnTo>
                  <a:lnTo>
                    <a:pt x="190998" y="75340"/>
                  </a:lnTo>
                  <a:lnTo>
                    <a:pt x="164120" y="75340"/>
                  </a:lnTo>
                  <a:lnTo>
                    <a:pt x="164120" y="108734"/>
                  </a:lnTo>
                  <a:lnTo>
                    <a:pt x="142128" y="108734"/>
                  </a:lnTo>
                  <a:lnTo>
                    <a:pt x="142128" y="22398"/>
                  </a:lnTo>
                  <a:lnTo>
                    <a:pt x="164120" y="22398"/>
                  </a:lnTo>
                  <a:lnTo>
                    <a:pt x="164120" y="55793"/>
                  </a:lnTo>
                  <a:lnTo>
                    <a:pt x="190998" y="55793"/>
                  </a:lnTo>
                  <a:lnTo>
                    <a:pt x="190998" y="22398"/>
                  </a:lnTo>
                  <a:lnTo>
                    <a:pt x="213803" y="22398"/>
                  </a:lnTo>
                  <a:lnTo>
                    <a:pt x="213803" y="108734"/>
                  </a:lnTo>
                  <a:close/>
                  <a:moveTo>
                    <a:pt x="238238" y="74526"/>
                  </a:moveTo>
                  <a:lnTo>
                    <a:pt x="238238" y="24027"/>
                  </a:lnTo>
                  <a:cubicBezTo>
                    <a:pt x="238238" y="19140"/>
                    <a:pt x="236609" y="15068"/>
                    <a:pt x="233351" y="10996"/>
                  </a:cubicBezTo>
                  <a:cubicBezTo>
                    <a:pt x="230093" y="7738"/>
                    <a:pt x="225206" y="6109"/>
                    <a:pt x="220319" y="6109"/>
                  </a:cubicBezTo>
                  <a:lnTo>
                    <a:pt x="135612" y="6109"/>
                  </a:lnTo>
                  <a:cubicBezTo>
                    <a:pt x="130726" y="6109"/>
                    <a:pt x="126653" y="7738"/>
                    <a:pt x="122581" y="10996"/>
                  </a:cubicBezTo>
                  <a:cubicBezTo>
                    <a:pt x="119323" y="14254"/>
                    <a:pt x="117694" y="19140"/>
                    <a:pt x="117694" y="24027"/>
                  </a:cubicBezTo>
                  <a:lnTo>
                    <a:pt x="117694" y="75340"/>
                  </a:lnTo>
                  <a:lnTo>
                    <a:pt x="31358" y="75340"/>
                  </a:lnTo>
                  <a:lnTo>
                    <a:pt x="31358" y="161676"/>
                  </a:lnTo>
                  <a:lnTo>
                    <a:pt x="48462" y="161676"/>
                  </a:lnTo>
                  <a:lnTo>
                    <a:pt x="48462" y="92445"/>
                  </a:lnTo>
                  <a:lnTo>
                    <a:pt x="117694" y="92445"/>
                  </a:lnTo>
                  <a:lnTo>
                    <a:pt x="117694" y="108734"/>
                  </a:lnTo>
                  <a:cubicBezTo>
                    <a:pt x="117694" y="113621"/>
                    <a:pt x="119323" y="117694"/>
                    <a:pt x="122581" y="121766"/>
                  </a:cubicBezTo>
                  <a:cubicBezTo>
                    <a:pt x="125839" y="125024"/>
                    <a:pt x="130726" y="126653"/>
                    <a:pt x="135612" y="126653"/>
                  </a:cubicBezTo>
                  <a:lnTo>
                    <a:pt x="169007" y="126653"/>
                  </a:lnTo>
                  <a:lnTo>
                    <a:pt x="169007" y="160862"/>
                  </a:lnTo>
                  <a:lnTo>
                    <a:pt x="186111" y="160862"/>
                  </a:lnTo>
                  <a:lnTo>
                    <a:pt x="186111" y="126653"/>
                  </a:lnTo>
                  <a:lnTo>
                    <a:pt x="219505" y="126653"/>
                  </a:lnTo>
                  <a:cubicBezTo>
                    <a:pt x="224392" y="126653"/>
                    <a:pt x="228464" y="125024"/>
                    <a:pt x="232537" y="121766"/>
                  </a:cubicBezTo>
                  <a:cubicBezTo>
                    <a:pt x="235795" y="118508"/>
                    <a:pt x="237424" y="113621"/>
                    <a:pt x="237424" y="108734"/>
                  </a:cubicBezTo>
                  <a:lnTo>
                    <a:pt x="237424" y="92445"/>
                  </a:lnTo>
                  <a:lnTo>
                    <a:pt x="306655" y="92445"/>
                  </a:lnTo>
                  <a:lnTo>
                    <a:pt x="306655" y="161676"/>
                  </a:lnTo>
                  <a:lnTo>
                    <a:pt x="323759" y="161676"/>
                  </a:lnTo>
                  <a:lnTo>
                    <a:pt x="323759" y="74526"/>
                  </a:lnTo>
                  <a:lnTo>
                    <a:pt x="238238" y="74526"/>
                  </a:lnTo>
                  <a:close/>
                </a:path>
              </a:pathLst>
            </a:custGeom>
            <a:solidFill>
              <a:srgbClr val="F9B5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0" name="Gruppieren 11" hidden="1">
            <a:extLst>
              <a:ext uri="{FF2B5EF4-FFF2-40B4-BE49-F238E27FC236}">
                <a16:creationId xmlns:a16="http://schemas.microsoft.com/office/drawing/2014/main" id="{23DB1103-8E30-4572-A405-E5B53B0313E2}"/>
              </a:ext>
            </a:extLst>
          </p:cNvPr>
          <p:cNvGrpSpPr/>
          <p:nvPr/>
        </p:nvGrpSpPr>
        <p:grpSpPr>
          <a:xfrm>
            <a:off x="647700" y="5364850"/>
            <a:ext cx="593664" cy="593665"/>
            <a:chOff x="687387" y="5504720"/>
            <a:chExt cx="593664" cy="593665"/>
          </a:xfrm>
        </p:grpSpPr>
        <p:sp>
          <p:nvSpPr>
            <p:cNvPr id="90" name="Freihandform: Form 52">
              <a:extLst>
                <a:ext uri="{FF2B5EF4-FFF2-40B4-BE49-F238E27FC236}">
                  <a16:creationId xmlns:a16="http://schemas.microsoft.com/office/drawing/2014/main" id="{875A7CBF-897D-4627-A8B2-DA99C7C45691}"/>
                </a:ext>
              </a:extLst>
            </p:cNvPr>
            <p:cNvSpPr/>
            <p:nvPr/>
          </p:nvSpPr>
          <p:spPr>
            <a:xfrm>
              <a:off x="687387" y="5504720"/>
              <a:ext cx="593664" cy="593665"/>
            </a:xfrm>
            <a:custGeom>
              <a:avLst/>
              <a:gdLst>
                <a:gd name="connsiteX0" fmla="*/ 731044 w 733425"/>
                <a:gd name="connsiteY0" fmla="*/ 369094 h 733425"/>
                <a:gd name="connsiteX1" fmla="*/ 369094 w 733425"/>
                <a:gd name="connsiteY1" fmla="*/ 731044 h 733425"/>
                <a:gd name="connsiteX2" fmla="*/ 7144 w 733425"/>
                <a:gd name="connsiteY2" fmla="*/ 369094 h 733425"/>
                <a:gd name="connsiteX3" fmla="*/ 369094 w 733425"/>
                <a:gd name="connsiteY3" fmla="*/ 7144 h 733425"/>
                <a:gd name="connsiteX4" fmla="*/ 731044 w 733425"/>
                <a:gd name="connsiteY4" fmla="*/ 369094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425" h="733425">
                  <a:moveTo>
                    <a:pt x="731044" y="369094"/>
                  </a:moveTo>
                  <a:cubicBezTo>
                    <a:pt x="731044" y="569119"/>
                    <a:pt x="569119" y="731044"/>
                    <a:pt x="369094" y="731044"/>
                  </a:cubicBezTo>
                  <a:cubicBezTo>
                    <a:pt x="169069" y="731044"/>
                    <a:pt x="7144" y="569119"/>
                    <a:pt x="7144" y="369094"/>
                  </a:cubicBezTo>
                  <a:cubicBezTo>
                    <a:pt x="7144" y="169069"/>
                    <a:pt x="169069" y="7144"/>
                    <a:pt x="369094" y="7144"/>
                  </a:cubicBezTo>
                  <a:cubicBezTo>
                    <a:pt x="569119" y="7144"/>
                    <a:pt x="731044" y="169069"/>
                    <a:pt x="731044" y="369094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1" name="Gruppieren 9">
              <a:extLst>
                <a:ext uri="{FF2B5EF4-FFF2-40B4-BE49-F238E27FC236}">
                  <a16:creationId xmlns:a16="http://schemas.microsoft.com/office/drawing/2014/main" id="{71D94784-D28B-4A79-95F6-8810F62AB7B1}"/>
                </a:ext>
              </a:extLst>
            </p:cNvPr>
            <p:cNvGrpSpPr/>
            <p:nvPr/>
          </p:nvGrpSpPr>
          <p:grpSpPr>
            <a:xfrm>
              <a:off x="809499" y="5584903"/>
              <a:ext cx="346651" cy="417404"/>
              <a:chOff x="809499" y="5584903"/>
              <a:chExt cx="346651" cy="417404"/>
            </a:xfrm>
            <a:solidFill>
              <a:schemeClr val="tx2"/>
            </a:solidFill>
          </p:grpSpPr>
          <p:sp>
            <p:nvSpPr>
              <p:cNvPr id="93" name="Freihandform: Form 53">
                <a:extLst>
                  <a:ext uri="{FF2B5EF4-FFF2-40B4-BE49-F238E27FC236}">
                    <a16:creationId xmlns:a16="http://schemas.microsoft.com/office/drawing/2014/main" id="{64FD09EA-2E64-4356-8A08-3052150BB5C7}"/>
                  </a:ext>
                </a:extLst>
              </p:cNvPr>
              <p:cNvSpPr/>
              <p:nvPr/>
            </p:nvSpPr>
            <p:spPr>
              <a:xfrm>
                <a:off x="1007349" y="5619598"/>
                <a:ext cx="131069" cy="138779"/>
              </a:xfrm>
              <a:custGeom>
                <a:avLst/>
                <a:gdLst>
                  <a:gd name="connsiteX0" fmla="*/ 7144 w 161925"/>
                  <a:gd name="connsiteY0" fmla="*/ 7144 h 171450"/>
                  <a:gd name="connsiteX1" fmla="*/ 16669 w 161925"/>
                  <a:gd name="connsiteY1" fmla="*/ 29051 h 171450"/>
                  <a:gd name="connsiteX2" fmla="*/ 135731 w 161925"/>
                  <a:gd name="connsiteY2" fmla="*/ 150971 h 171450"/>
                  <a:gd name="connsiteX3" fmla="*/ 138589 w 161925"/>
                  <a:gd name="connsiteY3" fmla="*/ 160496 h 171450"/>
                  <a:gd name="connsiteX4" fmla="*/ 150971 w 161925"/>
                  <a:gd name="connsiteY4" fmla="*/ 167164 h 171450"/>
                  <a:gd name="connsiteX5" fmla="*/ 157639 w 161925"/>
                  <a:gd name="connsiteY5" fmla="*/ 154781 h 171450"/>
                  <a:gd name="connsiteX6" fmla="*/ 154781 w 161925"/>
                  <a:gd name="connsiteY6" fmla="*/ 145256 h 171450"/>
                  <a:gd name="connsiteX7" fmla="*/ 7144 w 161925"/>
                  <a:gd name="connsiteY7" fmla="*/ 7144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925" h="171450">
                    <a:moveTo>
                      <a:pt x="7144" y="7144"/>
                    </a:moveTo>
                    <a:cubicBezTo>
                      <a:pt x="11906" y="12859"/>
                      <a:pt x="15716" y="20479"/>
                      <a:pt x="16669" y="29051"/>
                    </a:cubicBezTo>
                    <a:cubicBezTo>
                      <a:pt x="90964" y="44291"/>
                      <a:pt x="124301" y="116681"/>
                      <a:pt x="135731" y="150971"/>
                    </a:cubicBezTo>
                    <a:lnTo>
                      <a:pt x="138589" y="160496"/>
                    </a:lnTo>
                    <a:cubicBezTo>
                      <a:pt x="140494" y="166211"/>
                      <a:pt x="146209" y="168116"/>
                      <a:pt x="150971" y="167164"/>
                    </a:cubicBezTo>
                    <a:cubicBezTo>
                      <a:pt x="155734" y="165259"/>
                      <a:pt x="158591" y="159544"/>
                      <a:pt x="157639" y="154781"/>
                    </a:cubicBezTo>
                    <a:lnTo>
                      <a:pt x="154781" y="145256"/>
                    </a:lnTo>
                    <a:cubicBezTo>
                      <a:pt x="118586" y="37624"/>
                      <a:pt x="49054" y="11906"/>
                      <a:pt x="7144" y="714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Freihandform: Form 54">
                <a:extLst>
                  <a:ext uri="{FF2B5EF4-FFF2-40B4-BE49-F238E27FC236}">
                    <a16:creationId xmlns:a16="http://schemas.microsoft.com/office/drawing/2014/main" id="{F264F66B-DC26-4E74-89F4-EEBA276FF423}"/>
                  </a:ext>
                </a:extLst>
              </p:cNvPr>
              <p:cNvSpPr/>
              <p:nvPr/>
            </p:nvSpPr>
            <p:spPr>
              <a:xfrm>
                <a:off x="1063631" y="5687446"/>
                <a:ext cx="92519" cy="115649"/>
              </a:xfrm>
              <a:custGeom>
                <a:avLst/>
                <a:gdLst>
                  <a:gd name="connsiteX0" fmla="*/ 48101 w 114300"/>
                  <a:gd name="connsiteY0" fmla="*/ 74771 h 142875"/>
                  <a:gd name="connsiteX1" fmla="*/ 11906 w 114300"/>
                  <a:gd name="connsiteY1" fmla="*/ 7144 h 142875"/>
                  <a:gd name="connsiteX2" fmla="*/ 12859 w 114300"/>
                  <a:gd name="connsiteY2" fmla="*/ 14764 h 142875"/>
                  <a:gd name="connsiteX3" fmla="*/ 7144 w 114300"/>
                  <a:gd name="connsiteY3" fmla="*/ 34766 h 142875"/>
                  <a:gd name="connsiteX4" fmla="*/ 29051 w 114300"/>
                  <a:gd name="connsiteY4" fmla="*/ 81439 h 142875"/>
                  <a:gd name="connsiteX5" fmla="*/ 95726 w 114300"/>
                  <a:gd name="connsiteY5" fmla="*/ 143351 h 142875"/>
                  <a:gd name="connsiteX6" fmla="*/ 107156 w 114300"/>
                  <a:gd name="connsiteY6" fmla="*/ 134779 h 142875"/>
                  <a:gd name="connsiteX7" fmla="*/ 98584 w 114300"/>
                  <a:gd name="connsiteY7" fmla="*/ 123349 h 142875"/>
                  <a:gd name="connsiteX8" fmla="*/ 48101 w 114300"/>
                  <a:gd name="connsiteY8" fmla="*/ 74771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142875">
                    <a:moveTo>
                      <a:pt x="48101" y="74771"/>
                    </a:moveTo>
                    <a:cubicBezTo>
                      <a:pt x="38576" y="45244"/>
                      <a:pt x="25241" y="23336"/>
                      <a:pt x="11906" y="7144"/>
                    </a:cubicBezTo>
                    <a:cubicBezTo>
                      <a:pt x="11906" y="9049"/>
                      <a:pt x="12859" y="11906"/>
                      <a:pt x="12859" y="14764"/>
                    </a:cubicBezTo>
                    <a:cubicBezTo>
                      <a:pt x="12859" y="22384"/>
                      <a:pt x="10954" y="29051"/>
                      <a:pt x="7144" y="34766"/>
                    </a:cubicBezTo>
                    <a:cubicBezTo>
                      <a:pt x="17621" y="50959"/>
                      <a:pt x="24289" y="68104"/>
                      <a:pt x="29051" y="81439"/>
                    </a:cubicBezTo>
                    <a:cubicBezTo>
                      <a:pt x="39529" y="112871"/>
                      <a:pt x="67151" y="139541"/>
                      <a:pt x="95726" y="143351"/>
                    </a:cubicBezTo>
                    <a:cubicBezTo>
                      <a:pt x="101441" y="144304"/>
                      <a:pt x="106204" y="140494"/>
                      <a:pt x="107156" y="134779"/>
                    </a:cubicBezTo>
                    <a:cubicBezTo>
                      <a:pt x="108109" y="129064"/>
                      <a:pt x="104299" y="124301"/>
                      <a:pt x="98584" y="123349"/>
                    </a:cubicBezTo>
                    <a:cubicBezTo>
                      <a:pt x="77629" y="119539"/>
                      <a:pt x="55721" y="99536"/>
                      <a:pt x="48101" y="74771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Freihandform: Form 55">
                <a:extLst>
                  <a:ext uri="{FF2B5EF4-FFF2-40B4-BE49-F238E27FC236}">
                    <a16:creationId xmlns:a16="http://schemas.microsoft.com/office/drawing/2014/main" id="{67D37432-C84B-44D4-BA0A-8FF5DF4F028D}"/>
                  </a:ext>
                </a:extLst>
              </p:cNvPr>
              <p:cNvSpPr/>
              <p:nvPr/>
            </p:nvSpPr>
            <p:spPr>
              <a:xfrm>
                <a:off x="809499" y="5584903"/>
                <a:ext cx="300687" cy="200458"/>
              </a:xfrm>
              <a:custGeom>
                <a:avLst/>
                <a:gdLst>
                  <a:gd name="connsiteX0" fmla="*/ 35354 w 371475"/>
                  <a:gd name="connsiteY0" fmla="*/ 203359 h 247650"/>
                  <a:gd name="connsiteX1" fmla="*/ 92504 w 371475"/>
                  <a:gd name="connsiteY1" fmla="*/ 83344 h 247650"/>
                  <a:gd name="connsiteX2" fmla="*/ 232521 w 371475"/>
                  <a:gd name="connsiteY2" fmla="*/ 28099 h 247650"/>
                  <a:gd name="connsiteX3" fmla="*/ 323961 w 371475"/>
                  <a:gd name="connsiteY3" fmla="*/ 53816 h 247650"/>
                  <a:gd name="connsiteX4" fmla="*/ 353489 w 371475"/>
                  <a:gd name="connsiteY4" fmla="*/ 75724 h 247650"/>
                  <a:gd name="connsiteX5" fmla="*/ 367777 w 371475"/>
                  <a:gd name="connsiteY5" fmla="*/ 74771 h 247650"/>
                  <a:gd name="connsiteX6" fmla="*/ 366824 w 371475"/>
                  <a:gd name="connsiteY6" fmla="*/ 60484 h 247650"/>
                  <a:gd name="connsiteX7" fmla="*/ 334439 w 371475"/>
                  <a:gd name="connsiteY7" fmla="*/ 35719 h 247650"/>
                  <a:gd name="connsiteX8" fmla="*/ 232521 w 371475"/>
                  <a:gd name="connsiteY8" fmla="*/ 7144 h 247650"/>
                  <a:gd name="connsiteX9" fmla="*/ 78216 w 371475"/>
                  <a:gd name="connsiteY9" fmla="*/ 69056 h 247650"/>
                  <a:gd name="connsiteX10" fmla="*/ 15351 w 371475"/>
                  <a:gd name="connsiteY10" fmla="*/ 200501 h 247650"/>
                  <a:gd name="connsiteX11" fmla="*/ 7731 w 371475"/>
                  <a:gd name="connsiteY11" fmla="*/ 236696 h 247650"/>
                  <a:gd name="connsiteX12" fmla="*/ 14399 w 371475"/>
                  <a:gd name="connsiteY12" fmla="*/ 249079 h 247650"/>
                  <a:gd name="connsiteX13" fmla="*/ 17256 w 371475"/>
                  <a:gd name="connsiteY13" fmla="*/ 249079 h 247650"/>
                  <a:gd name="connsiteX14" fmla="*/ 26781 w 371475"/>
                  <a:gd name="connsiteY14" fmla="*/ 241459 h 247650"/>
                  <a:gd name="connsiteX15" fmla="*/ 35354 w 371475"/>
                  <a:gd name="connsiteY15" fmla="*/ 203359 h 247650"/>
                  <a:gd name="connsiteX16" fmla="*/ 35354 w 371475"/>
                  <a:gd name="connsiteY16" fmla="*/ 203359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1475" h="247650">
                    <a:moveTo>
                      <a:pt x="35354" y="203359"/>
                    </a:moveTo>
                    <a:cubicBezTo>
                      <a:pt x="41069" y="157639"/>
                      <a:pt x="62024" y="114776"/>
                      <a:pt x="92504" y="83344"/>
                    </a:cubicBezTo>
                    <a:cubicBezTo>
                      <a:pt x="128699" y="47149"/>
                      <a:pt x="177277" y="28099"/>
                      <a:pt x="232521" y="28099"/>
                    </a:cubicBezTo>
                    <a:cubicBezTo>
                      <a:pt x="255382" y="28099"/>
                      <a:pt x="288719" y="32861"/>
                      <a:pt x="323961" y="53816"/>
                    </a:cubicBezTo>
                    <a:cubicBezTo>
                      <a:pt x="334439" y="60484"/>
                      <a:pt x="343964" y="67151"/>
                      <a:pt x="353489" y="75724"/>
                    </a:cubicBezTo>
                    <a:cubicBezTo>
                      <a:pt x="357299" y="79534"/>
                      <a:pt x="363966" y="79534"/>
                      <a:pt x="367777" y="74771"/>
                    </a:cubicBezTo>
                    <a:cubicBezTo>
                      <a:pt x="371586" y="70961"/>
                      <a:pt x="371586" y="64294"/>
                      <a:pt x="366824" y="60484"/>
                    </a:cubicBezTo>
                    <a:cubicBezTo>
                      <a:pt x="356347" y="50959"/>
                      <a:pt x="345869" y="43339"/>
                      <a:pt x="334439" y="35719"/>
                    </a:cubicBezTo>
                    <a:cubicBezTo>
                      <a:pt x="295386" y="11906"/>
                      <a:pt x="257286" y="7144"/>
                      <a:pt x="232521" y="7144"/>
                    </a:cubicBezTo>
                    <a:cubicBezTo>
                      <a:pt x="171561" y="7144"/>
                      <a:pt x="118221" y="28099"/>
                      <a:pt x="78216" y="69056"/>
                    </a:cubicBezTo>
                    <a:cubicBezTo>
                      <a:pt x="43926" y="103346"/>
                      <a:pt x="21066" y="150019"/>
                      <a:pt x="15351" y="200501"/>
                    </a:cubicBezTo>
                    <a:cubicBezTo>
                      <a:pt x="15351" y="202406"/>
                      <a:pt x="11541" y="223361"/>
                      <a:pt x="7731" y="236696"/>
                    </a:cubicBezTo>
                    <a:cubicBezTo>
                      <a:pt x="5826" y="242411"/>
                      <a:pt x="8684" y="247174"/>
                      <a:pt x="14399" y="249079"/>
                    </a:cubicBezTo>
                    <a:cubicBezTo>
                      <a:pt x="15351" y="249079"/>
                      <a:pt x="16304" y="249079"/>
                      <a:pt x="17256" y="249079"/>
                    </a:cubicBezTo>
                    <a:cubicBezTo>
                      <a:pt x="22019" y="249079"/>
                      <a:pt x="25829" y="246221"/>
                      <a:pt x="26781" y="241459"/>
                    </a:cubicBezTo>
                    <a:cubicBezTo>
                      <a:pt x="31544" y="227171"/>
                      <a:pt x="35354" y="205264"/>
                      <a:pt x="35354" y="203359"/>
                    </a:cubicBezTo>
                    <a:lnTo>
                      <a:pt x="35354" y="20335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Freihandform: Form 56">
                <a:extLst>
                  <a:ext uri="{FF2B5EF4-FFF2-40B4-BE49-F238E27FC236}">
                    <a16:creationId xmlns:a16="http://schemas.microsoft.com/office/drawing/2014/main" id="{41E26D0D-9290-447F-8580-472DB28B8649}"/>
                  </a:ext>
                </a:extLst>
              </p:cNvPr>
              <p:cNvSpPr/>
              <p:nvPr/>
            </p:nvSpPr>
            <p:spPr>
              <a:xfrm>
                <a:off x="1009662" y="5725224"/>
                <a:ext cx="38550" cy="53970"/>
              </a:xfrm>
              <a:custGeom>
                <a:avLst/>
                <a:gdLst>
                  <a:gd name="connsiteX0" fmla="*/ 39529 w 47625"/>
                  <a:gd name="connsiteY0" fmla="*/ 56674 h 66675"/>
                  <a:gd name="connsiteX1" fmla="*/ 38576 w 47625"/>
                  <a:gd name="connsiteY1" fmla="*/ 53816 h 66675"/>
                  <a:gd name="connsiteX2" fmla="*/ 11906 w 47625"/>
                  <a:gd name="connsiteY2" fmla="*/ 7144 h 66675"/>
                  <a:gd name="connsiteX3" fmla="*/ 8096 w 47625"/>
                  <a:gd name="connsiteY3" fmla="*/ 7144 h 66675"/>
                  <a:gd name="connsiteX4" fmla="*/ 7144 w 47625"/>
                  <a:gd name="connsiteY4" fmla="*/ 32861 h 66675"/>
                  <a:gd name="connsiteX5" fmla="*/ 14764 w 47625"/>
                  <a:gd name="connsiteY5" fmla="*/ 48101 h 66675"/>
                  <a:gd name="connsiteX6" fmla="*/ 44291 w 47625"/>
                  <a:gd name="connsiteY6" fmla="*/ 67151 h 66675"/>
                  <a:gd name="connsiteX7" fmla="*/ 40481 w 47625"/>
                  <a:gd name="connsiteY7" fmla="*/ 59531 h 66675"/>
                  <a:gd name="connsiteX8" fmla="*/ 39529 w 47625"/>
                  <a:gd name="connsiteY8" fmla="*/ 5667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66675">
                    <a:moveTo>
                      <a:pt x="39529" y="56674"/>
                    </a:moveTo>
                    <a:lnTo>
                      <a:pt x="38576" y="53816"/>
                    </a:lnTo>
                    <a:cubicBezTo>
                      <a:pt x="32861" y="37624"/>
                      <a:pt x="24289" y="18574"/>
                      <a:pt x="11906" y="7144"/>
                    </a:cubicBezTo>
                    <a:lnTo>
                      <a:pt x="8096" y="7144"/>
                    </a:lnTo>
                    <a:lnTo>
                      <a:pt x="7144" y="32861"/>
                    </a:lnTo>
                    <a:cubicBezTo>
                      <a:pt x="10001" y="36671"/>
                      <a:pt x="11906" y="42386"/>
                      <a:pt x="14764" y="48101"/>
                    </a:cubicBezTo>
                    <a:cubicBezTo>
                      <a:pt x="27146" y="53816"/>
                      <a:pt x="36671" y="60484"/>
                      <a:pt x="44291" y="67151"/>
                    </a:cubicBezTo>
                    <a:cubicBezTo>
                      <a:pt x="42386" y="64294"/>
                      <a:pt x="41434" y="61436"/>
                      <a:pt x="40481" y="59531"/>
                    </a:cubicBezTo>
                    <a:lnTo>
                      <a:pt x="39529" y="566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Freihandform: Form 57">
                <a:extLst>
                  <a:ext uri="{FF2B5EF4-FFF2-40B4-BE49-F238E27FC236}">
                    <a16:creationId xmlns:a16="http://schemas.microsoft.com/office/drawing/2014/main" id="{9721C490-0873-4B9A-BFAF-A2CF238224DA}"/>
                  </a:ext>
                </a:extLst>
              </p:cNvPr>
              <p:cNvSpPr/>
              <p:nvPr/>
            </p:nvSpPr>
            <p:spPr>
              <a:xfrm>
                <a:off x="1028937" y="5721370"/>
                <a:ext cx="123359" cy="115649"/>
              </a:xfrm>
              <a:custGeom>
                <a:avLst/>
                <a:gdLst>
                  <a:gd name="connsiteX0" fmla="*/ 123349 w 152400"/>
                  <a:gd name="connsiteY0" fmla="*/ 138589 h 142875"/>
                  <a:gd name="connsiteX1" fmla="*/ 139541 w 152400"/>
                  <a:gd name="connsiteY1" fmla="*/ 140494 h 142875"/>
                  <a:gd name="connsiteX2" fmla="*/ 149066 w 152400"/>
                  <a:gd name="connsiteY2" fmla="*/ 130016 h 142875"/>
                  <a:gd name="connsiteX3" fmla="*/ 138589 w 152400"/>
                  <a:gd name="connsiteY3" fmla="*/ 120491 h 142875"/>
                  <a:gd name="connsiteX4" fmla="*/ 138589 w 152400"/>
                  <a:gd name="connsiteY4" fmla="*/ 120491 h 142875"/>
                  <a:gd name="connsiteX5" fmla="*/ 127159 w 152400"/>
                  <a:gd name="connsiteY5" fmla="*/ 119539 h 142875"/>
                  <a:gd name="connsiteX6" fmla="*/ 54769 w 152400"/>
                  <a:gd name="connsiteY6" fmla="*/ 52864 h 142875"/>
                  <a:gd name="connsiteX7" fmla="*/ 51911 w 152400"/>
                  <a:gd name="connsiteY7" fmla="*/ 47149 h 142875"/>
                  <a:gd name="connsiteX8" fmla="*/ 30004 w 152400"/>
                  <a:gd name="connsiteY8" fmla="*/ 7144 h 142875"/>
                  <a:gd name="connsiteX9" fmla="*/ 13811 w 152400"/>
                  <a:gd name="connsiteY9" fmla="*/ 10954 h 142875"/>
                  <a:gd name="connsiteX10" fmla="*/ 7144 w 152400"/>
                  <a:gd name="connsiteY10" fmla="*/ 10954 h 142875"/>
                  <a:gd name="connsiteX11" fmla="*/ 32861 w 152400"/>
                  <a:gd name="connsiteY11" fmla="*/ 55721 h 142875"/>
                  <a:gd name="connsiteX12" fmla="*/ 32861 w 152400"/>
                  <a:gd name="connsiteY12" fmla="*/ 56674 h 142875"/>
                  <a:gd name="connsiteX13" fmla="*/ 35719 w 152400"/>
                  <a:gd name="connsiteY13" fmla="*/ 62389 h 142875"/>
                  <a:gd name="connsiteX14" fmla="*/ 123349 w 152400"/>
                  <a:gd name="connsiteY14" fmla="*/ 138589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2400" h="142875">
                    <a:moveTo>
                      <a:pt x="123349" y="138589"/>
                    </a:moveTo>
                    <a:cubicBezTo>
                      <a:pt x="130016" y="140494"/>
                      <a:pt x="132874" y="140494"/>
                      <a:pt x="139541" y="140494"/>
                    </a:cubicBezTo>
                    <a:cubicBezTo>
                      <a:pt x="145256" y="140494"/>
                      <a:pt x="150019" y="135731"/>
                      <a:pt x="149066" y="130016"/>
                    </a:cubicBezTo>
                    <a:cubicBezTo>
                      <a:pt x="149066" y="124301"/>
                      <a:pt x="144304" y="120491"/>
                      <a:pt x="138589" y="120491"/>
                    </a:cubicBezTo>
                    <a:lnTo>
                      <a:pt x="138589" y="120491"/>
                    </a:lnTo>
                    <a:cubicBezTo>
                      <a:pt x="133826" y="120491"/>
                      <a:pt x="131921" y="120491"/>
                      <a:pt x="127159" y="119539"/>
                    </a:cubicBezTo>
                    <a:cubicBezTo>
                      <a:pt x="85249" y="110014"/>
                      <a:pt x="70961" y="83344"/>
                      <a:pt x="54769" y="52864"/>
                    </a:cubicBezTo>
                    <a:cubicBezTo>
                      <a:pt x="53816" y="50959"/>
                      <a:pt x="52864" y="49054"/>
                      <a:pt x="51911" y="47149"/>
                    </a:cubicBezTo>
                    <a:cubicBezTo>
                      <a:pt x="47149" y="35719"/>
                      <a:pt x="39529" y="21431"/>
                      <a:pt x="30004" y="7144"/>
                    </a:cubicBezTo>
                    <a:cubicBezTo>
                      <a:pt x="25241" y="9049"/>
                      <a:pt x="19526" y="10954"/>
                      <a:pt x="13811" y="10954"/>
                    </a:cubicBezTo>
                    <a:lnTo>
                      <a:pt x="7144" y="10954"/>
                    </a:lnTo>
                    <a:cubicBezTo>
                      <a:pt x="17621" y="24289"/>
                      <a:pt x="26194" y="40481"/>
                      <a:pt x="32861" y="55721"/>
                    </a:cubicBezTo>
                    <a:lnTo>
                      <a:pt x="32861" y="56674"/>
                    </a:lnTo>
                    <a:cubicBezTo>
                      <a:pt x="33814" y="58579"/>
                      <a:pt x="34766" y="60484"/>
                      <a:pt x="35719" y="62389"/>
                    </a:cubicBezTo>
                    <a:cubicBezTo>
                      <a:pt x="55721" y="93821"/>
                      <a:pt x="72866" y="127159"/>
                      <a:pt x="123349" y="13858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Freihandform: Form 58">
                <a:extLst>
                  <a:ext uri="{FF2B5EF4-FFF2-40B4-BE49-F238E27FC236}">
                    <a16:creationId xmlns:a16="http://schemas.microsoft.com/office/drawing/2014/main" id="{D8DCAB8C-AB18-410E-914B-EC0E38497CEF}"/>
                  </a:ext>
                </a:extLst>
              </p:cNvPr>
              <p:cNvSpPr/>
              <p:nvPr/>
            </p:nvSpPr>
            <p:spPr>
              <a:xfrm>
                <a:off x="927937" y="5803865"/>
                <a:ext cx="30840" cy="46260"/>
              </a:xfrm>
              <a:custGeom>
                <a:avLst/>
                <a:gdLst>
                  <a:gd name="connsiteX0" fmla="*/ 31909 w 38100"/>
                  <a:gd name="connsiteY0" fmla="*/ 38576 h 57150"/>
                  <a:gd name="connsiteX1" fmla="*/ 30956 w 38100"/>
                  <a:gd name="connsiteY1" fmla="*/ 10954 h 57150"/>
                  <a:gd name="connsiteX2" fmla="*/ 26194 w 38100"/>
                  <a:gd name="connsiteY2" fmla="*/ 9049 h 57150"/>
                  <a:gd name="connsiteX3" fmla="*/ 18574 w 38100"/>
                  <a:gd name="connsiteY3" fmla="*/ 7144 h 57150"/>
                  <a:gd name="connsiteX4" fmla="*/ 7144 w 38100"/>
                  <a:gd name="connsiteY4" fmla="*/ 50959 h 57150"/>
                  <a:gd name="connsiteX5" fmla="*/ 22384 w 38100"/>
                  <a:gd name="connsiteY5" fmla="*/ 42386 h 57150"/>
                  <a:gd name="connsiteX6" fmla="*/ 31909 w 38100"/>
                  <a:gd name="connsiteY6" fmla="*/ 3857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57150">
                    <a:moveTo>
                      <a:pt x="31909" y="38576"/>
                    </a:moveTo>
                    <a:lnTo>
                      <a:pt x="30956" y="10954"/>
                    </a:lnTo>
                    <a:lnTo>
                      <a:pt x="26194" y="9049"/>
                    </a:lnTo>
                    <a:cubicBezTo>
                      <a:pt x="23336" y="8096"/>
                      <a:pt x="21431" y="8096"/>
                      <a:pt x="18574" y="7144"/>
                    </a:cubicBezTo>
                    <a:cubicBezTo>
                      <a:pt x="14764" y="23336"/>
                      <a:pt x="10954" y="37624"/>
                      <a:pt x="7144" y="50959"/>
                    </a:cubicBezTo>
                    <a:cubicBezTo>
                      <a:pt x="10954" y="48101"/>
                      <a:pt x="16669" y="45244"/>
                      <a:pt x="22384" y="42386"/>
                    </a:cubicBezTo>
                    <a:cubicBezTo>
                      <a:pt x="24289" y="41434"/>
                      <a:pt x="28099" y="40481"/>
                      <a:pt x="31909" y="38576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9" name="Freihandform: Form 59">
                <a:extLst>
                  <a:ext uri="{FF2B5EF4-FFF2-40B4-BE49-F238E27FC236}">
                    <a16:creationId xmlns:a16="http://schemas.microsoft.com/office/drawing/2014/main" id="{70BD7055-4FF8-4C7B-9815-6CC75F23B27B}"/>
                  </a:ext>
                </a:extLst>
              </p:cNvPr>
              <p:cNvSpPr/>
              <p:nvPr/>
            </p:nvSpPr>
            <p:spPr>
              <a:xfrm>
                <a:off x="831087" y="5626537"/>
                <a:ext cx="123359" cy="208168"/>
              </a:xfrm>
              <a:custGeom>
                <a:avLst/>
                <a:gdLst>
                  <a:gd name="connsiteX0" fmla="*/ 142034 w 152400"/>
                  <a:gd name="connsiteY0" fmla="*/ 30004 h 257175"/>
                  <a:gd name="connsiteX1" fmla="*/ 142034 w 152400"/>
                  <a:gd name="connsiteY1" fmla="*/ 26194 h 257175"/>
                  <a:gd name="connsiteX2" fmla="*/ 142034 w 152400"/>
                  <a:gd name="connsiteY2" fmla="*/ 25241 h 257175"/>
                  <a:gd name="connsiteX3" fmla="*/ 145844 w 152400"/>
                  <a:gd name="connsiteY3" fmla="*/ 7144 h 257175"/>
                  <a:gd name="connsiteX4" fmla="*/ 28686 w 152400"/>
                  <a:gd name="connsiteY4" fmla="*/ 155734 h 257175"/>
                  <a:gd name="connsiteX5" fmla="*/ 7731 w 152400"/>
                  <a:gd name="connsiteY5" fmla="*/ 246221 h 257175"/>
                  <a:gd name="connsiteX6" fmla="*/ 14399 w 152400"/>
                  <a:gd name="connsiteY6" fmla="*/ 258604 h 257175"/>
                  <a:gd name="connsiteX7" fmla="*/ 17256 w 152400"/>
                  <a:gd name="connsiteY7" fmla="*/ 259556 h 257175"/>
                  <a:gd name="connsiteX8" fmla="*/ 26781 w 152400"/>
                  <a:gd name="connsiteY8" fmla="*/ 252889 h 257175"/>
                  <a:gd name="connsiteX9" fmla="*/ 48689 w 152400"/>
                  <a:gd name="connsiteY9" fmla="*/ 158591 h 257175"/>
                  <a:gd name="connsiteX10" fmla="*/ 142034 w 152400"/>
                  <a:gd name="connsiteY10" fmla="*/ 30004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257175">
                    <a:moveTo>
                      <a:pt x="142034" y="30004"/>
                    </a:moveTo>
                    <a:lnTo>
                      <a:pt x="142034" y="26194"/>
                    </a:lnTo>
                    <a:lnTo>
                      <a:pt x="142034" y="25241"/>
                    </a:lnTo>
                    <a:cubicBezTo>
                      <a:pt x="142034" y="18574"/>
                      <a:pt x="142987" y="12859"/>
                      <a:pt x="145844" y="7144"/>
                    </a:cubicBezTo>
                    <a:cubicBezTo>
                      <a:pt x="76311" y="30004"/>
                      <a:pt x="37259" y="92869"/>
                      <a:pt x="28686" y="155734"/>
                    </a:cubicBezTo>
                    <a:cubicBezTo>
                      <a:pt x="22971" y="197644"/>
                      <a:pt x="14399" y="227171"/>
                      <a:pt x="7731" y="246221"/>
                    </a:cubicBezTo>
                    <a:cubicBezTo>
                      <a:pt x="5826" y="251936"/>
                      <a:pt x="8684" y="256699"/>
                      <a:pt x="14399" y="258604"/>
                    </a:cubicBezTo>
                    <a:cubicBezTo>
                      <a:pt x="15351" y="258604"/>
                      <a:pt x="16304" y="259556"/>
                      <a:pt x="17256" y="259556"/>
                    </a:cubicBezTo>
                    <a:cubicBezTo>
                      <a:pt x="21066" y="259556"/>
                      <a:pt x="25829" y="256699"/>
                      <a:pt x="26781" y="252889"/>
                    </a:cubicBezTo>
                    <a:cubicBezTo>
                      <a:pt x="33449" y="232886"/>
                      <a:pt x="42974" y="201454"/>
                      <a:pt x="48689" y="158591"/>
                    </a:cubicBezTo>
                    <a:cubicBezTo>
                      <a:pt x="55356" y="105251"/>
                      <a:pt x="85836" y="52864"/>
                      <a:pt x="142034" y="3000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0" name="Freihandform: Form 60">
                <a:extLst>
                  <a:ext uri="{FF2B5EF4-FFF2-40B4-BE49-F238E27FC236}">
                    <a16:creationId xmlns:a16="http://schemas.microsoft.com/office/drawing/2014/main" id="{A0A4B81F-0B87-4935-A90F-B9A6136A3EFD}"/>
                  </a:ext>
                </a:extLst>
              </p:cNvPr>
              <p:cNvSpPr/>
              <p:nvPr/>
            </p:nvSpPr>
            <p:spPr>
              <a:xfrm>
                <a:off x="894469" y="5883278"/>
                <a:ext cx="38550" cy="53970"/>
              </a:xfrm>
              <a:custGeom>
                <a:avLst/>
                <a:gdLst>
                  <a:gd name="connsiteX0" fmla="*/ 33251 w 47625"/>
                  <a:gd name="connsiteY0" fmla="*/ 44291 h 66675"/>
                  <a:gd name="connsiteX1" fmla="*/ 40871 w 47625"/>
                  <a:gd name="connsiteY1" fmla="*/ 30004 h 66675"/>
                  <a:gd name="connsiteX2" fmla="*/ 29441 w 47625"/>
                  <a:gd name="connsiteY2" fmla="*/ 7144 h 66675"/>
                  <a:gd name="connsiteX3" fmla="*/ 16106 w 47625"/>
                  <a:gd name="connsiteY3" fmla="*/ 34766 h 66675"/>
                  <a:gd name="connsiteX4" fmla="*/ 8486 w 47625"/>
                  <a:gd name="connsiteY4" fmla="*/ 48101 h 66675"/>
                  <a:gd name="connsiteX5" fmla="*/ 12296 w 47625"/>
                  <a:gd name="connsiteY5" fmla="*/ 61436 h 66675"/>
                  <a:gd name="connsiteX6" fmla="*/ 17059 w 47625"/>
                  <a:gd name="connsiteY6" fmla="*/ 62389 h 66675"/>
                  <a:gd name="connsiteX7" fmla="*/ 25631 w 47625"/>
                  <a:gd name="connsiteY7" fmla="*/ 56674 h 66675"/>
                  <a:gd name="connsiteX8" fmla="*/ 33251 w 47625"/>
                  <a:gd name="connsiteY8" fmla="*/ 44291 h 66675"/>
                  <a:gd name="connsiteX9" fmla="*/ 33251 w 47625"/>
                  <a:gd name="connsiteY9" fmla="*/ 44291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625" h="66675">
                    <a:moveTo>
                      <a:pt x="33251" y="44291"/>
                    </a:moveTo>
                    <a:cubicBezTo>
                      <a:pt x="35156" y="40481"/>
                      <a:pt x="38014" y="35719"/>
                      <a:pt x="40871" y="30004"/>
                    </a:cubicBezTo>
                    <a:cubicBezTo>
                      <a:pt x="34204" y="22384"/>
                      <a:pt x="30394" y="14764"/>
                      <a:pt x="29441" y="7144"/>
                    </a:cubicBezTo>
                    <a:cubicBezTo>
                      <a:pt x="24679" y="18574"/>
                      <a:pt x="19916" y="27146"/>
                      <a:pt x="16106" y="34766"/>
                    </a:cubicBezTo>
                    <a:cubicBezTo>
                      <a:pt x="15154" y="35719"/>
                      <a:pt x="10391" y="44291"/>
                      <a:pt x="8486" y="48101"/>
                    </a:cubicBezTo>
                    <a:cubicBezTo>
                      <a:pt x="5629" y="52864"/>
                      <a:pt x="7534" y="59531"/>
                      <a:pt x="12296" y="61436"/>
                    </a:cubicBezTo>
                    <a:cubicBezTo>
                      <a:pt x="14201" y="62389"/>
                      <a:pt x="15154" y="62389"/>
                      <a:pt x="17059" y="62389"/>
                    </a:cubicBezTo>
                    <a:cubicBezTo>
                      <a:pt x="20869" y="62389"/>
                      <a:pt x="23726" y="60484"/>
                      <a:pt x="25631" y="56674"/>
                    </a:cubicBezTo>
                    <a:cubicBezTo>
                      <a:pt x="27536" y="53816"/>
                      <a:pt x="31346" y="47149"/>
                      <a:pt x="33251" y="44291"/>
                    </a:cubicBezTo>
                    <a:lnTo>
                      <a:pt x="33251" y="44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1" name="Freihandform: Form 61">
                <a:extLst>
                  <a:ext uri="{FF2B5EF4-FFF2-40B4-BE49-F238E27FC236}">
                    <a16:creationId xmlns:a16="http://schemas.microsoft.com/office/drawing/2014/main" id="{ECAFF028-31A6-4277-B78E-7DD195D9CE5D}"/>
                  </a:ext>
                </a:extLst>
              </p:cNvPr>
              <p:cNvSpPr/>
              <p:nvPr/>
            </p:nvSpPr>
            <p:spPr>
              <a:xfrm>
                <a:off x="1038189" y="5841645"/>
                <a:ext cx="100229" cy="61679"/>
              </a:xfrm>
              <a:custGeom>
                <a:avLst/>
                <a:gdLst>
                  <a:gd name="connsiteX0" fmla="*/ 110014 w 123825"/>
                  <a:gd name="connsiteY0" fmla="*/ 53816 h 76200"/>
                  <a:gd name="connsiteX1" fmla="*/ 20479 w 123825"/>
                  <a:gd name="connsiteY1" fmla="*/ 7144 h 76200"/>
                  <a:gd name="connsiteX2" fmla="*/ 7144 w 123825"/>
                  <a:gd name="connsiteY2" fmla="*/ 22384 h 76200"/>
                  <a:gd name="connsiteX3" fmla="*/ 107156 w 123825"/>
                  <a:gd name="connsiteY3" fmla="*/ 73819 h 76200"/>
                  <a:gd name="connsiteX4" fmla="*/ 118586 w 123825"/>
                  <a:gd name="connsiteY4" fmla="*/ 65246 h 76200"/>
                  <a:gd name="connsiteX5" fmla="*/ 110014 w 123825"/>
                  <a:gd name="connsiteY5" fmla="*/ 53816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76200">
                    <a:moveTo>
                      <a:pt x="110014" y="53816"/>
                    </a:moveTo>
                    <a:cubicBezTo>
                      <a:pt x="79534" y="49054"/>
                      <a:pt x="46196" y="30956"/>
                      <a:pt x="20479" y="7144"/>
                    </a:cubicBezTo>
                    <a:cubicBezTo>
                      <a:pt x="16669" y="12859"/>
                      <a:pt x="12859" y="17621"/>
                      <a:pt x="7144" y="22384"/>
                    </a:cubicBezTo>
                    <a:cubicBezTo>
                      <a:pt x="35719" y="49054"/>
                      <a:pt x="71914" y="68104"/>
                      <a:pt x="107156" y="73819"/>
                    </a:cubicBezTo>
                    <a:cubicBezTo>
                      <a:pt x="112871" y="74771"/>
                      <a:pt x="117634" y="70961"/>
                      <a:pt x="118586" y="65246"/>
                    </a:cubicBezTo>
                    <a:cubicBezTo>
                      <a:pt x="119539" y="59531"/>
                      <a:pt x="115729" y="54769"/>
                      <a:pt x="110014" y="53816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Freihandform: Form 62">
                <a:extLst>
                  <a:ext uri="{FF2B5EF4-FFF2-40B4-BE49-F238E27FC236}">
                    <a16:creationId xmlns:a16="http://schemas.microsoft.com/office/drawing/2014/main" id="{DC90F61C-75B3-4662-B5DA-DA7ECF65A2DD}"/>
                  </a:ext>
                </a:extLst>
              </p:cNvPr>
              <p:cNvSpPr/>
              <p:nvPr/>
            </p:nvSpPr>
            <p:spPr>
              <a:xfrm>
                <a:off x="854102" y="5748354"/>
                <a:ext cx="46260" cy="123359"/>
              </a:xfrm>
              <a:custGeom>
                <a:avLst/>
                <a:gdLst>
                  <a:gd name="connsiteX0" fmla="*/ 40259 w 57150"/>
                  <a:gd name="connsiteY0" fmla="*/ 7144 h 152400"/>
                  <a:gd name="connsiteX1" fmla="*/ 40259 w 57150"/>
                  <a:gd name="connsiteY1" fmla="*/ 10001 h 152400"/>
                  <a:gd name="connsiteX2" fmla="*/ 7874 w 57150"/>
                  <a:gd name="connsiteY2" fmla="*/ 134779 h 152400"/>
                  <a:gd name="connsiteX3" fmla="*/ 12636 w 57150"/>
                  <a:gd name="connsiteY3" fmla="*/ 148114 h 152400"/>
                  <a:gd name="connsiteX4" fmla="*/ 16446 w 57150"/>
                  <a:gd name="connsiteY4" fmla="*/ 149066 h 152400"/>
                  <a:gd name="connsiteX5" fmla="*/ 25971 w 57150"/>
                  <a:gd name="connsiteY5" fmla="*/ 143351 h 152400"/>
                  <a:gd name="connsiteX6" fmla="*/ 55499 w 57150"/>
                  <a:gd name="connsiteY6" fmla="*/ 41434 h 152400"/>
                  <a:gd name="connsiteX7" fmla="*/ 40259 w 57150"/>
                  <a:gd name="connsiteY7" fmla="*/ 7144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150" h="152400">
                    <a:moveTo>
                      <a:pt x="40259" y="7144"/>
                    </a:moveTo>
                    <a:cubicBezTo>
                      <a:pt x="40259" y="8096"/>
                      <a:pt x="40259" y="9049"/>
                      <a:pt x="40259" y="10001"/>
                    </a:cubicBezTo>
                    <a:cubicBezTo>
                      <a:pt x="31686" y="75724"/>
                      <a:pt x="19304" y="110014"/>
                      <a:pt x="7874" y="134779"/>
                    </a:cubicBezTo>
                    <a:cubicBezTo>
                      <a:pt x="5969" y="139541"/>
                      <a:pt x="7874" y="146209"/>
                      <a:pt x="12636" y="148114"/>
                    </a:cubicBezTo>
                    <a:cubicBezTo>
                      <a:pt x="13589" y="149066"/>
                      <a:pt x="15494" y="149066"/>
                      <a:pt x="16446" y="149066"/>
                    </a:cubicBezTo>
                    <a:cubicBezTo>
                      <a:pt x="20256" y="149066"/>
                      <a:pt x="24066" y="147161"/>
                      <a:pt x="25971" y="143351"/>
                    </a:cubicBezTo>
                    <a:cubicBezTo>
                      <a:pt x="36449" y="120491"/>
                      <a:pt x="46926" y="91916"/>
                      <a:pt x="55499" y="41434"/>
                    </a:cubicBezTo>
                    <a:cubicBezTo>
                      <a:pt x="47879" y="30956"/>
                      <a:pt x="43116" y="19526"/>
                      <a:pt x="40259" y="714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Freihandform: Form 63">
                <a:extLst>
                  <a:ext uri="{FF2B5EF4-FFF2-40B4-BE49-F238E27FC236}">
                    <a16:creationId xmlns:a16="http://schemas.microsoft.com/office/drawing/2014/main" id="{C822F3E8-D666-456E-B233-EB5F7AE4AB02}"/>
                  </a:ext>
                </a:extLst>
              </p:cNvPr>
              <p:cNvSpPr/>
              <p:nvPr/>
            </p:nvSpPr>
            <p:spPr>
              <a:xfrm>
                <a:off x="1018439" y="5901532"/>
                <a:ext cx="100229" cy="84809"/>
              </a:xfrm>
              <a:custGeom>
                <a:avLst/>
                <a:gdLst>
                  <a:gd name="connsiteX0" fmla="*/ 119174 w 123825"/>
                  <a:gd name="connsiteY0" fmla="*/ 21740 h 104775"/>
                  <a:gd name="connsiteX1" fmla="*/ 96314 w 123825"/>
                  <a:gd name="connsiteY1" fmla="*/ 10310 h 104775"/>
                  <a:gd name="connsiteX2" fmla="*/ 45831 w 123825"/>
                  <a:gd name="connsiteY2" fmla="*/ 16977 h 104775"/>
                  <a:gd name="connsiteX3" fmla="*/ 7731 w 123825"/>
                  <a:gd name="connsiteY3" fmla="*/ 86510 h 104775"/>
                  <a:gd name="connsiteX4" fmla="*/ 14399 w 123825"/>
                  <a:gd name="connsiteY4" fmla="*/ 98892 h 104775"/>
                  <a:gd name="connsiteX5" fmla="*/ 17256 w 123825"/>
                  <a:gd name="connsiteY5" fmla="*/ 99845 h 104775"/>
                  <a:gd name="connsiteX6" fmla="*/ 26781 w 123825"/>
                  <a:gd name="connsiteY6" fmla="*/ 93177 h 104775"/>
                  <a:gd name="connsiteX7" fmla="*/ 57261 w 123825"/>
                  <a:gd name="connsiteY7" fmla="*/ 33170 h 104775"/>
                  <a:gd name="connsiteX8" fmla="*/ 105839 w 123825"/>
                  <a:gd name="connsiteY8" fmla="*/ 36980 h 104775"/>
                  <a:gd name="connsiteX9" fmla="*/ 120126 w 123825"/>
                  <a:gd name="connsiteY9" fmla="*/ 35075 h 104775"/>
                  <a:gd name="connsiteX10" fmla="*/ 119174 w 123825"/>
                  <a:gd name="connsiteY10" fmla="*/ 21740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3825" h="104775">
                    <a:moveTo>
                      <a:pt x="119174" y="21740"/>
                    </a:moveTo>
                    <a:cubicBezTo>
                      <a:pt x="119174" y="21740"/>
                      <a:pt x="109649" y="14120"/>
                      <a:pt x="96314" y="10310"/>
                    </a:cubicBezTo>
                    <a:cubicBezTo>
                      <a:pt x="78217" y="4595"/>
                      <a:pt x="61071" y="6500"/>
                      <a:pt x="45831" y="16977"/>
                    </a:cubicBezTo>
                    <a:cubicBezTo>
                      <a:pt x="28686" y="29360"/>
                      <a:pt x="11542" y="76985"/>
                      <a:pt x="7731" y="86510"/>
                    </a:cubicBezTo>
                    <a:cubicBezTo>
                      <a:pt x="5826" y="92225"/>
                      <a:pt x="8684" y="97940"/>
                      <a:pt x="14399" y="98892"/>
                    </a:cubicBezTo>
                    <a:cubicBezTo>
                      <a:pt x="15351" y="98892"/>
                      <a:pt x="16304" y="99845"/>
                      <a:pt x="17256" y="99845"/>
                    </a:cubicBezTo>
                    <a:cubicBezTo>
                      <a:pt x="21067" y="99845"/>
                      <a:pt x="24876" y="96987"/>
                      <a:pt x="26781" y="93177"/>
                    </a:cubicBezTo>
                    <a:cubicBezTo>
                      <a:pt x="33449" y="72222"/>
                      <a:pt x="47736" y="39837"/>
                      <a:pt x="57261" y="33170"/>
                    </a:cubicBezTo>
                    <a:cubicBezTo>
                      <a:pt x="79169" y="16977"/>
                      <a:pt x="104887" y="36980"/>
                      <a:pt x="105839" y="36980"/>
                    </a:cubicBezTo>
                    <a:cubicBezTo>
                      <a:pt x="110601" y="40790"/>
                      <a:pt x="116317" y="39837"/>
                      <a:pt x="120126" y="35075"/>
                    </a:cubicBezTo>
                    <a:cubicBezTo>
                      <a:pt x="124889" y="32217"/>
                      <a:pt x="123937" y="25550"/>
                      <a:pt x="119174" y="2174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Freihandform: Form 64">
                <a:extLst>
                  <a:ext uri="{FF2B5EF4-FFF2-40B4-BE49-F238E27FC236}">
                    <a16:creationId xmlns:a16="http://schemas.microsoft.com/office/drawing/2014/main" id="{45C4146A-7026-449E-9E3E-D11117F1B04B}"/>
                  </a:ext>
                </a:extLst>
              </p:cNvPr>
              <p:cNvSpPr/>
              <p:nvPr/>
            </p:nvSpPr>
            <p:spPr>
              <a:xfrm>
                <a:off x="1055151" y="5800011"/>
                <a:ext cx="100229" cy="69389"/>
              </a:xfrm>
              <a:custGeom>
                <a:avLst/>
                <a:gdLst>
                  <a:gd name="connsiteX0" fmla="*/ 107156 w 123825"/>
                  <a:gd name="connsiteY0" fmla="*/ 64294 h 85725"/>
                  <a:gd name="connsiteX1" fmla="*/ 107156 w 123825"/>
                  <a:gd name="connsiteY1" fmla="*/ 64294 h 85725"/>
                  <a:gd name="connsiteX2" fmla="*/ 90011 w 123825"/>
                  <a:gd name="connsiteY2" fmla="*/ 62389 h 85725"/>
                  <a:gd name="connsiteX3" fmla="*/ 88106 w 123825"/>
                  <a:gd name="connsiteY3" fmla="*/ 62389 h 85725"/>
                  <a:gd name="connsiteX4" fmla="*/ 7144 w 123825"/>
                  <a:gd name="connsiteY4" fmla="*/ 7144 h 85725"/>
                  <a:gd name="connsiteX5" fmla="*/ 9049 w 123825"/>
                  <a:gd name="connsiteY5" fmla="*/ 23336 h 85725"/>
                  <a:gd name="connsiteX6" fmla="*/ 7144 w 123825"/>
                  <a:gd name="connsiteY6" fmla="*/ 38576 h 85725"/>
                  <a:gd name="connsiteX7" fmla="*/ 84296 w 123825"/>
                  <a:gd name="connsiteY7" fmla="*/ 81439 h 85725"/>
                  <a:gd name="connsiteX8" fmla="*/ 86201 w 123825"/>
                  <a:gd name="connsiteY8" fmla="*/ 81439 h 85725"/>
                  <a:gd name="connsiteX9" fmla="*/ 106204 w 123825"/>
                  <a:gd name="connsiteY9" fmla="*/ 84296 h 85725"/>
                  <a:gd name="connsiteX10" fmla="*/ 116681 w 123825"/>
                  <a:gd name="connsiteY10" fmla="*/ 73819 h 85725"/>
                  <a:gd name="connsiteX11" fmla="*/ 107156 w 123825"/>
                  <a:gd name="connsiteY11" fmla="*/ 6429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825" h="85725">
                    <a:moveTo>
                      <a:pt x="107156" y="64294"/>
                    </a:moveTo>
                    <a:lnTo>
                      <a:pt x="107156" y="64294"/>
                    </a:lnTo>
                    <a:cubicBezTo>
                      <a:pt x="103346" y="64294"/>
                      <a:pt x="101441" y="64294"/>
                      <a:pt x="90011" y="62389"/>
                    </a:cubicBezTo>
                    <a:lnTo>
                      <a:pt x="88106" y="62389"/>
                    </a:lnTo>
                    <a:cubicBezTo>
                      <a:pt x="50959" y="55721"/>
                      <a:pt x="24289" y="30956"/>
                      <a:pt x="7144" y="7144"/>
                    </a:cubicBezTo>
                    <a:cubicBezTo>
                      <a:pt x="9049" y="12859"/>
                      <a:pt x="9049" y="18574"/>
                      <a:pt x="9049" y="23336"/>
                    </a:cubicBezTo>
                    <a:cubicBezTo>
                      <a:pt x="9049" y="29051"/>
                      <a:pt x="8096" y="33814"/>
                      <a:pt x="7144" y="38576"/>
                    </a:cubicBezTo>
                    <a:cubicBezTo>
                      <a:pt x="26194" y="58579"/>
                      <a:pt x="51911" y="76676"/>
                      <a:pt x="84296" y="81439"/>
                    </a:cubicBezTo>
                    <a:lnTo>
                      <a:pt x="86201" y="81439"/>
                    </a:lnTo>
                    <a:cubicBezTo>
                      <a:pt x="97631" y="83344"/>
                      <a:pt x="101441" y="84296"/>
                      <a:pt x="106204" y="84296"/>
                    </a:cubicBezTo>
                    <a:cubicBezTo>
                      <a:pt x="111919" y="84296"/>
                      <a:pt x="116681" y="79534"/>
                      <a:pt x="116681" y="73819"/>
                    </a:cubicBezTo>
                    <a:cubicBezTo>
                      <a:pt x="117634" y="69056"/>
                      <a:pt x="112871" y="64294"/>
                      <a:pt x="107156" y="6429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Freihandform: Form 65">
                <a:extLst>
                  <a:ext uri="{FF2B5EF4-FFF2-40B4-BE49-F238E27FC236}">
                    <a16:creationId xmlns:a16="http://schemas.microsoft.com/office/drawing/2014/main" id="{4F96B6B0-29A9-4B86-B2E8-74EFB0F3D474}"/>
                  </a:ext>
                </a:extLst>
              </p:cNvPr>
              <p:cNvSpPr/>
              <p:nvPr/>
            </p:nvSpPr>
            <p:spPr>
              <a:xfrm>
                <a:off x="971568" y="5878948"/>
                <a:ext cx="69389" cy="123359"/>
              </a:xfrm>
              <a:custGeom>
                <a:avLst/>
                <a:gdLst>
                  <a:gd name="connsiteX0" fmla="*/ 75161 w 85725"/>
                  <a:gd name="connsiteY0" fmla="*/ 7731 h 152400"/>
                  <a:gd name="connsiteX1" fmla="*/ 62779 w 85725"/>
                  <a:gd name="connsiteY1" fmla="*/ 14399 h 152400"/>
                  <a:gd name="connsiteX2" fmla="*/ 21821 w 85725"/>
                  <a:gd name="connsiteY2" fmla="*/ 109649 h 152400"/>
                  <a:gd name="connsiteX3" fmla="*/ 19916 w 85725"/>
                  <a:gd name="connsiteY3" fmla="*/ 112506 h 152400"/>
                  <a:gd name="connsiteX4" fmla="*/ 16106 w 85725"/>
                  <a:gd name="connsiteY4" fmla="*/ 119174 h 152400"/>
                  <a:gd name="connsiteX5" fmla="*/ 8486 w 85725"/>
                  <a:gd name="connsiteY5" fmla="*/ 131556 h 152400"/>
                  <a:gd name="connsiteX6" fmla="*/ 8486 w 85725"/>
                  <a:gd name="connsiteY6" fmla="*/ 131556 h 152400"/>
                  <a:gd name="connsiteX7" fmla="*/ 12296 w 85725"/>
                  <a:gd name="connsiteY7" fmla="*/ 144891 h 152400"/>
                  <a:gd name="connsiteX8" fmla="*/ 17059 w 85725"/>
                  <a:gd name="connsiteY8" fmla="*/ 146797 h 152400"/>
                  <a:gd name="connsiteX9" fmla="*/ 25631 w 85725"/>
                  <a:gd name="connsiteY9" fmla="*/ 142034 h 152400"/>
                  <a:gd name="connsiteX10" fmla="*/ 25631 w 85725"/>
                  <a:gd name="connsiteY10" fmla="*/ 142034 h 152400"/>
                  <a:gd name="connsiteX11" fmla="*/ 33251 w 85725"/>
                  <a:gd name="connsiteY11" fmla="*/ 127746 h 152400"/>
                  <a:gd name="connsiteX12" fmla="*/ 36109 w 85725"/>
                  <a:gd name="connsiteY12" fmla="*/ 122031 h 152400"/>
                  <a:gd name="connsiteX13" fmla="*/ 38014 w 85725"/>
                  <a:gd name="connsiteY13" fmla="*/ 118221 h 152400"/>
                  <a:gd name="connsiteX14" fmla="*/ 80876 w 85725"/>
                  <a:gd name="connsiteY14" fmla="*/ 19161 h 152400"/>
                  <a:gd name="connsiteX15" fmla="*/ 75161 w 85725"/>
                  <a:gd name="connsiteY15" fmla="*/ 7731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5725" h="152400">
                    <a:moveTo>
                      <a:pt x="75161" y="7731"/>
                    </a:moveTo>
                    <a:cubicBezTo>
                      <a:pt x="69446" y="5827"/>
                      <a:pt x="64684" y="8684"/>
                      <a:pt x="62779" y="14399"/>
                    </a:cubicBezTo>
                    <a:cubicBezTo>
                      <a:pt x="45634" y="67739"/>
                      <a:pt x="30394" y="95361"/>
                      <a:pt x="21821" y="109649"/>
                    </a:cubicBezTo>
                    <a:lnTo>
                      <a:pt x="19916" y="112506"/>
                    </a:lnTo>
                    <a:cubicBezTo>
                      <a:pt x="18964" y="114411"/>
                      <a:pt x="17059" y="117269"/>
                      <a:pt x="16106" y="119174"/>
                    </a:cubicBezTo>
                    <a:cubicBezTo>
                      <a:pt x="14201" y="122984"/>
                      <a:pt x="12296" y="126794"/>
                      <a:pt x="8486" y="131556"/>
                    </a:cubicBezTo>
                    <a:lnTo>
                      <a:pt x="8486" y="131556"/>
                    </a:lnTo>
                    <a:cubicBezTo>
                      <a:pt x="5629" y="136319"/>
                      <a:pt x="7534" y="142034"/>
                      <a:pt x="12296" y="144891"/>
                    </a:cubicBezTo>
                    <a:cubicBezTo>
                      <a:pt x="14201" y="145844"/>
                      <a:pt x="16106" y="146797"/>
                      <a:pt x="17059" y="146797"/>
                    </a:cubicBezTo>
                    <a:cubicBezTo>
                      <a:pt x="20869" y="146797"/>
                      <a:pt x="23726" y="144891"/>
                      <a:pt x="25631" y="142034"/>
                    </a:cubicBezTo>
                    <a:lnTo>
                      <a:pt x="25631" y="142034"/>
                    </a:lnTo>
                    <a:cubicBezTo>
                      <a:pt x="29441" y="136319"/>
                      <a:pt x="31346" y="132509"/>
                      <a:pt x="33251" y="127746"/>
                    </a:cubicBezTo>
                    <a:cubicBezTo>
                      <a:pt x="34204" y="125841"/>
                      <a:pt x="35156" y="123936"/>
                      <a:pt x="36109" y="122031"/>
                    </a:cubicBezTo>
                    <a:lnTo>
                      <a:pt x="38014" y="118221"/>
                    </a:lnTo>
                    <a:cubicBezTo>
                      <a:pt x="46586" y="102981"/>
                      <a:pt x="62779" y="74406"/>
                      <a:pt x="80876" y="19161"/>
                    </a:cubicBezTo>
                    <a:cubicBezTo>
                      <a:pt x="82781" y="14399"/>
                      <a:pt x="79924" y="8684"/>
                      <a:pt x="75161" y="7731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Freihandform: Form 66">
                <a:extLst>
                  <a:ext uri="{FF2B5EF4-FFF2-40B4-BE49-F238E27FC236}">
                    <a16:creationId xmlns:a16="http://schemas.microsoft.com/office/drawing/2014/main" id="{A955192C-44E3-4486-A4DC-8AD25FF8A3D4}"/>
                  </a:ext>
                </a:extLst>
              </p:cNvPr>
              <p:cNvSpPr/>
              <p:nvPr/>
            </p:nvSpPr>
            <p:spPr>
              <a:xfrm>
                <a:off x="872881" y="5789217"/>
                <a:ext cx="53969" cy="115649"/>
              </a:xfrm>
              <a:custGeom>
                <a:avLst/>
                <a:gdLst>
                  <a:gd name="connsiteX0" fmla="*/ 49444 w 66675"/>
                  <a:gd name="connsiteY0" fmla="*/ 7144 h 142875"/>
                  <a:gd name="connsiteX1" fmla="*/ 9439 w 66675"/>
                  <a:gd name="connsiteY1" fmla="*/ 122396 h 142875"/>
                  <a:gd name="connsiteX2" fmla="*/ 8486 w 66675"/>
                  <a:gd name="connsiteY2" fmla="*/ 123349 h 142875"/>
                  <a:gd name="connsiteX3" fmla="*/ 12296 w 66675"/>
                  <a:gd name="connsiteY3" fmla="*/ 136684 h 142875"/>
                  <a:gd name="connsiteX4" fmla="*/ 17059 w 66675"/>
                  <a:gd name="connsiteY4" fmla="*/ 137636 h 142875"/>
                  <a:gd name="connsiteX5" fmla="*/ 25631 w 66675"/>
                  <a:gd name="connsiteY5" fmla="*/ 132874 h 142875"/>
                  <a:gd name="connsiteX6" fmla="*/ 26584 w 66675"/>
                  <a:gd name="connsiteY6" fmla="*/ 131921 h 142875"/>
                  <a:gd name="connsiteX7" fmla="*/ 67541 w 66675"/>
                  <a:gd name="connsiteY7" fmla="*/ 17621 h 142875"/>
                  <a:gd name="connsiteX8" fmla="*/ 49444 w 66675"/>
                  <a:gd name="connsiteY8" fmla="*/ 7144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142875">
                    <a:moveTo>
                      <a:pt x="49444" y="7144"/>
                    </a:moveTo>
                    <a:cubicBezTo>
                      <a:pt x="39919" y="53816"/>
                      <a:pt x="26584" y="91916"/>
                      <a:pt x="9439" y="122396"/>
                    </a:cubicBezTo>
                    <a:lnTo>
                      <a:pt x="8486" y="123349"/>
                    </a:lnTo>
                    <a:cubicBezTo>
                      <a:pt x="5629" y="128111"/>
                      <a:pt x="7534" y="134779"/>
                      <a:pt x="12296" y="136684"/>
                    </a:cubicBezTo>
                    <a:cubicBezTo>
                      <a:pt x="14201" y="137636"/>
                      <a:pt x="15154" y="137636"/>
                      <a:pt x="17059" y="137636"/>
                    </a:cubicBezTo>
                    <a:cubicBezTo>
                      <a:pt x="20869" y="137636"/>
                      <a:pt x="23726" y="135731"/>
                      <a:pt x="25631" y="132874"/>
                    </a:cubicBezTo>
                    <a:lnTo>
                      <a:pt x="26584" y="131921"/>
                    </a:lnTo>
                    <a:cubicBezTo>
                      <a:pt x="43729" y="101441"/>
                      <a:pt x="58016" y="62389"/>
                      <a:pt x="67541" y="17621"/>
                    </a:cubicBezTo>
                    <a:cubicBezTo>
                      <a:pt x="60874" y="14764"/>
                      <a:pt x="55159" y="10954"/>
                      <a:pt x="49444" y="714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Freihandform: Form 67">
                <a:extLst>
                  <a:ext uri="{FF2B5EF4-FFF2-40B4-BE49-F238E27FC236}">
                    <a16:creationId xmlns:a16="http://schemas.microsoft.com/office/drawing/2014/main" id="{B7F77F73-E8B1-4D77-B171-C2E05AD83827}"/>
                  </a:ext>
                </a:extLst>
              </p:cNvPr>
              <p:cNvSpPr/>
              <p:nvPr/>
            </p:nvSpPr>
            <p:spPr>
              <a:xfrm>
                <a:off x="943041" y="5938018"/>
                <a:ext cx="38550" cy="46260"/>
              </a:xfrm>
              <a:custGeom>
                <a:avLst/>
                <a:gdLst>
                  <a:gd name="connsiteX0" fmla="*/ 19916 w 47625"/>
                  <a:gd name="connsiteY0" fmla="*/ 19526 h 57150"/>
                  <a:gd name="connsiteX1" fmla="*/ 15154 w 47625"/>
                  <a:gd name="connsiteY1" fmla="*/ 28099 h 57150"/>
                  <a:gd name="connsiteX2" fmla="*/ 8486 w 47625"/>
                  <a:gd name="connsiteY2" fmla="*/ 40481 h 57150"/>
                  <a:gd name="connsiteX3" fmla="*/ 12296 w 47625"/>
                  <a:gd name="connsiteY3" fmla="*/ 53816 h 57150"/>
                  <a:gd name="connsiteX4" fmla="*/ 17059 w 47625"/>
                  <a:gd name="connsiteY4" fmla="*/ 55721 h 57150"/>
                  <a:gd name="connsiteX5" fmla="*/ 25631 w 47625"/>
                  <a:gd name="connsiteY5" fmla="*/ 50959 h 57150"/>
                  <a:gd name="connsiteX6" fmla="*/ 33251 w 47625"/>
                  <a:gd name="connsiteY6" fmla="*/ 37624 h 57150"/>
                  <a:gd name="connsiteX7" fmla="*/ 37061 w 47625"/>
                  <a:gd name="connsiteY7" fmla="*/ 30004 h 57150"/>
                  <a:gd name="connsiteX8" fmla="*/ 38014 w 47625"/>
                  <a:gd name="connsiteY8" fmla="*/ 29051 h 57150"/>
                  <a:gd name="connsiteX9" fmla="*/ 49444 w 47625"/>
                  <a:gd name="connsiteY9" fmla="*/ 7144 h 57150"/>
                  <a:gd name="connsiteX10" fmla="*/ 19916 w 47625"/>
                  <a:gd name="connsiteY10" fmla="*/ 19526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625" h="57150">
                    <a:moveTo>
                      <a:pt x="19916" y="19526"/>
                    </a:moveTo>
                    <a:cubicBezTo>
                      <a:pt x="18011" y="22384"/>
                      <a:pt x="17059" y="25241"/>
                      <a:pt x="15154" y="28099"/>
                    </a:cubicBezTo>
                    <a:cubicBezTo>
                      <a:pt x="13249" y="31909"/>
                      <a:pt x="11344" y="35719"/>
                      <a:pt x="8486" y="40481"/>
                    </a:cubicBezTo>
                    <a:cubicBezTo>
                      <a:pt x="5629" y="45244"/>
                      <a:pt x="7534" y="50959"/>
                      <a:pt x="12296" y="53816"/>
                    </a:cubicBezTo>
                    <a:cubicBezTo>
                      <a:pt x="14201" y="54769"/>
                      <a:pt x="16106" y="55721"/>
                      <a:pt x="17059" y="55721"/>
                    </a:cubicBezTo>
                    <a:cubicBezTo>
                      <a:pt x="20869" y="55721"/>
                      <a:pt x="23726" y="53816"/>
                      <a:pt x="25631" y="50959"/>
                    </a:cubicBezTo>
                    <a:cubicBezTo>
                      <a:pt x="28489" y="46196"/>
                      <a:pt x="31346" y="41434"/>
                      <a:pt x="33251" y="37624"/>
                    </a:cubicBezTo>
                    <a:cubicBezTo>
                      <a:pt x="34204" y="34766"/>
                      <a:pt x="36109" y="32861"/>
                      <a:pt x="37061" y="30004"/>
                    </a:cubicBezTo>
                    <a:lnTo>
                      <a:pt x="38014" y="29051"/>
                    </a:lnTo>
                    <a:cubicBezTo>
                      <a:pt x="40871" y="24289"/>
                      <a:pt x="44681" y="16669"/>
                      <a:pt x="49444" y="7144"/>
                    </a:cubicBezTo>
                    <a:lnTo>
                      <a:pt x="19916" y="1952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Freihandform: Form 68">
                <a:extLst>
                  <a:ext uri="{FF2B5EF4-FFF2-40B4-BE49-F238E27FC236}">
                    <a16:creationId xmlns:a16="http://schemas.microsoft.com/office/drawing/2014/main" id="{224885FC-9292-4A07-9767-1E2764D32822}"/>
                  </a:ext>
                </a:extLst>
              </p:cNvPr>
              <p:cNvSpPr/>
              <p:nvPr/>
            </p:nvSpPr>
            <p:spPr>
              <a:xfrm>
                <a:off x="915285" y="5911805"/>
                <a:ext cx="46260" cy="53970"/>
              </a:xfrm>
              <a:custGeom>
                <a:avLst/>
                <a:gdLst>
                  <a:gd name="connsiteX0" fmla="*/ 37061 w 57150"/>
                  <a:gd name="connsiteY0" fmla="*/ 41434 h 66675"/>
                  <a:gd name="connsiteX1" fmla="*/ 37061 w 57150"/>
                  <a:gd name="connsiteY1" fmla="*/ 41434 h 66675"/>
                  <a:gd name="connsiteX2" fmla="*/ 50396 w 57150"/>
                  <a:gd name="connsiteY2" fmla="*/ 14764 h 66675"/>
                  <a:gd name="connsiteX3" fmla="*/ 45634 w 57150"/>
                  <a:gd name="connsiteY3" fmla="*/ 12859 h 66675"/>
                  <a:gd name="connsiteX4" fmla="*/ 32299 w 57150"/>
                  <a:gd name="connsiteY4" fmla="*/ 7144 h 66675"/>
                  <a:gd name="connsiteX5" fmla="*/ 19916 w 57150"/>
                  <a:gd name="connsiteY5" fmla="*/ 31909 h 66675"/>
                  <a:gd name="connsiteX6" fmla="*/ 19916 w 57150"/>
                  <a:gd name="connsiteY6" fmla="*/ 31909 h 66675"/>
                  <a:gd name="connsiteX7" fmla="*/ 14201 w 57150"/>
                  <a:gd name="connsiteY7" fmla="*/ 41434 h 66675"/>
                  <a:gd name="connsiteX8" fmla="*/ 8486 w 57150"/>
                  <a:gd name="connsiteY8" fmla="*/ 51911 h 66675"/>
                  <a:gd name="connsiteX9" fmla="*/ 12296 w 57150"/>
                  <a:gd name="connsiteY9" fmla="*/ 65246 h 66675"/>
                  <a:gd name="connsiteX10" fmla="*/ 17059 w 57150"/>
                  <a:gd name="connsiteY10" fmla="*/ 66199 h 66675"/>
                  <a:gd name="connsiteX11" fmla="*/ 25631 w 57150"/>
                  <a:gd name="connsiteY11" fmla="*/ 61436 h 66675"/>
                  <a:gd name="connsiteX12" fmla="*/ 32299 w 57150"/>
                  <a:gd name="connsiteY12" fmla="*/ 50006 h 66675"/>
                  <a:gd name="connsiteX13" fmla="*/ 37061 w 57150"/>
                  <a:gd name="connsiteY13" fmla="*/ 41434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150" h="66675">
                    <a:moveTo>
                      <a:pt x="37061" y="41434"/>
                    </a:moveTo>
                    <a:lnTo>
                      <a:pt x="37061" y="41434"/>
                    </a:lnTo>
                    <a:cubicBezTo>
                      <a:pt x="39919" y="35719"/>
                      <a:pt x="44681" y="27146"/>
                      <a:pt x="50396" y="14764"/>
                    </a:cubicBezTo>
                    <a:lnTo>
                      <a:pt x="45634" y="12859"/>
                    </a:lnTo>
                    <a:cubicBezTo>
                      <a:pt x="40871" y="10954"/>
                      <a:pt x="36109" y="9049"/>
                      <a:pt x="32299" y="7144"/>
                    </a:cubicBezTo>
                    <a:cubicBezTo>
                      <a:pt x="26584" y="18574"/>
                      <a:pt x="22774" y="27146"/>
                      <a:pt x="19916" y="31909"/>
                    </a:cubicBezTo>
                    <a:lnTo>
                      <a:pt x="19916" y="31909"/>
                    </a:lnTo>
                    <a:cubicBezTo>
                      <a:pt x="18011" y="35719"/>
                      <a:pt x="16106" y="38576"/>
                      <a:pt x="14201" y="41434"/>
                    </a:cubicBezTo>
                    <a:cubicBezTo>
                      <a:pt x="12296" y="45244"/>
                      <a:pt x="10391" y="48101"/>
                      <a:pt x="8486" y="51911"/>
                    </a:cubicBezTo>
                    <a:cubicBezTo>
                      <a:pt x="5629" y="56674"/>
                      <a:pt x="7534" y="62389"/>
                      <a:pt x="12296" y="65246"/>
                    </a:cubicBezTo>
                    <a:cubicBezTo>
                      <a:pt x="14201" y="66199"/>
                      <a:pt x="16106" y="66199"/>
                      <a:pt x="17059" y="66199"/>
                    </a:cubicBezTo>
                    <a:cubicBezTo>
                      <a:pt x="20869" y="66199"/>
                      <a:pt x="23726" y="64294"/>
                      <a:pt x="25631" y="61436"/>
                    </a:cubicBezTo>
                    <a:cubicBezTo>
                      <a:pt x="28489" y="57626"/>
                      <a:pt x="30394" y="53816"/>
                      <a:pt x="32299" y="50006"/>
                    </a:cubicBezTo>
                    <a:cubicBezTo>
                      <a:pt x="33251" y="48101"/>
                      <a:pt x="35156" y="45244"/>
                      <a:pt x="37061" y="41434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2" name="Freihandform: Form 69">
              <a:extLst>
                <a:ext uri="{FF2B5EF4-FFF2-40B4-BE49-F238E27FC236}">
                  <a16:creationId xmlns:a16="http://schemas.microsoft.com/office/drawing/2014/main" id="{21830B64-5419-4AFF-96BD-FBB4CD7554A8}"/>
                </a:ext>
              </a:extLst>
            </p:cNvPr>
            <p:cNvSpPr/>
            <p:nvPr/>
          </p:nvSpPr>
          <p:spPr>
            <a:xfrm>
              <a:off x="895555" y="5618827"/>
              <a:ext cx="161908" cy="316107"/>
            </a:xfrm>
            <a:custGeom>
              <a:avLst/>
              <a:gdLst>
                <a:gd name="connsiteX0" fmla="*/ 154781 w 200025"/>
                <a:gd name="connsiteY0" fmla="*/ 67151 h 390525"/>
                <a:gd name="connsiteX1" fmla="*/ 84296 w 200025"/>
                <a:gd name="connsiteY1" fmla="*/ 67151 h 390525"/>
                <a:gd name="connsiteX2" fmla="*/ 7144 w 200025"/>
                <a:gd name="connsiteY2" fmla="*/ 144304 h 390525"/>
                <a:gd name="connsiteX3" fmla="*/ 71914 w 200025"/>
                <a:gd name="connsiteY3" fmla="*/ 218599 h 390525"/>
                <a:gd name="connsiteX4" fmla="*/ 70009 w 200025"/>
                <a:gd name="connsiteY4" fmla="*/ 176689 h 390525"/>
                <a:gd name="connsiteX5" fmla="*/ 52864 w 200025"/>
                <a:gd name="connsiteY5" fmla="*/ 150971 h 390525"/>
                <a:gd name="connsiteX6" fmla="*/ 85249 w 200025"/>
                <a:gd name="connsiteY6" fmla="*/ 118586 h 390525"/>
                <a:gd name="connsiteX7" fmla="*/ 181451 w 200025"/>
                <a:gd name="connsiteY7" fmla="*/ 118586 h 390525"/>
                <a:gd name="connsiteX8" fmla="*/ 200501 w 200025"/>
                <a:gd name="connsiteY8" fmla="*/ 99536 h 390525"/>
                <a:gd name="connsiteX9" fmla="*/ 154781 w 200025"/>
                <a:gd name="connsiteY9" fmla="*/ 67151 h 390525"/>
                <a:gd name="connsiteX10" fmla="*/ 146209 w 200025"/>
                <a:gd name="connsiteY10" fmla="*/ 197644 h 390525"/>
                <a:gd name="connsiteX11" fmla="*/ 144304 w 200025"/>
                <a:gd name="connsiteY11" fmla="*/ 239554 h 390525"/>
                <a:gd name="connsiteX12" fmla="*/ 144304 w 200025"/>
                <a:gd name="connsiteY12" fmla="*/ 240506 h 390525"/>
                <a:gd name="connsiteX13" fmla="*/ 148114 w 200025"/>
                <a:gd name="connsiteY13" fmla="*/ 250031 h 390525"/>
                <a:gd name="connsiteX14" fmla="*/ 138589 w 200025"/>
                <a:gd name="connsiteY14" fmla="*/ 262414 h 390525"/>
                <a:gd name="connsiteX15" fmla="*/ 71914 w 200025"/>
                <a:gd name="connsiteY15" fmla="*/ 290989 h 390525"/>
                <a:gd name="connsiteX16" fmla="*/ 47149 w 200025"/>
                <a:gd name="connsiteY16" fmla="*/ 321469 h 390525"/>
                <a:gd name="connsiteX17" fmla="*/ 77629 w 200025"/>
                <a:gd name="connsiteY17" fmla="*/ 357664 h 390525"/>
                <a:gd name="connsiteX18" fmla="*/ 76676 w 200025"/>
                <a:gd name="connsiteY18" fmla="*/ 340519 h 390525"/>
                <a:gd name="connsiteX19" fmla="*/ 70009 w 200025"/>
                <a:gd name="connsiteY19" fmla="*/ 330041 h 390525"/>
                <a:gd name="connsiteX20" fmla="*/ 80486 w 200025"/>
                <a:gd name="connsiteY20" fmla="*/ 317659 h 390525"/>
                <a:gd name="connsiteX21" fmla="*/ 149066 w 200025"/>
                <a:gd name="connsiteY21" fmla="*/ 294799 h 390525"/>
                <a:gd name="connsiteX22" fmla="*/ 186214 w 200025"/>
                <a:gd name="connsiteY22" fmla="*/ 248126 h 390525"/>
                <a:gd name="connsiteX23" fmla="*/ 146209 w 200025"/>
                <a:gd name="connsiteY23" fmla="*/ 197644 h 390525"/>
                <a:gd name="connsiteX24" fmla="*/ 88106 w 200025"/>
                <a:gd name="connsiteY24" fmla="*/ 138589 h 390525"/>
                <a:gd name="connsiteX25" fmla="*/ 92869 w 200025"/>
                <a:gd name="connsiteY25" fmla="*/ 259556 h 390525"/>
                <a:gd name="connsiteX26" fmla="*/ 124301 w 200025"/>
                <a:gd name="connsiteY26" fmla="*/ 246221 h 390525"/>
                <a:gd name="connsiteX27" fmla="*/ 129064 w 200025"/>
                <a:gd name="connsiteY27" fmla="*/ 138589 h 390525"/>
                <a:gd name="connsiteX28" fmla="*/ 88106 w 200025"/>
                <a:gd name="connsiteY28" fmla="*/ 138589 h 390525"/>
                <a:gd name="connsiteX29" fmla="*/ 95726 w 200025"/>
                <a:gd name="connsiteY29" fmla="*/ 332899 h 390525"/>
                <a:gd name="connsiteX30" fmla="*/ 97631 w 200025"/>
                <a:gd name="connsiteY30" fmla="*/ 389096 h 390525"/>
                <a:gd name="connsiteX31" fmla="*/ 118586 w 200025"/>
                <a:gd name="connsiteY31" fmla="*/ 381476 h 390525"/>
                <a:gd name="connsiteX32" fmla="*/ 120491 w 200025"/>
                <a:gd name="connsiteY32" fmla="*/ 325279 h 390525"/>
                <a:gd name="connsiteX33" fmla="*/ 95726 w 200025"/>
                <a:gd name="connsiteY33" fmla="*/ 332899 h 390525"/>
                <a:gd name="connsiteX34" fmla="*/ 82391 w 200025"/>
                <a:gd name="connsiteY34" fmla="*/ 47149 h 390525"/>
                <a:gd name="connsiteX35" fmla="*/ 81439 w 200025"/>
                <a:gd name="connsiteY35" fmla="*/ 33814 h 390525"/>
                <a:gd name="connsiteX36" fmla="*/ 108109 w 200025"/>
                <a:gd name="connsiteY36" fmla="*/ 7144 h 390525"/>
                <a:gd name="connsiteX37" fmla="*/ 134779 w 200025"/>
                <a:gd name="connsiteY37" fmla="*/ 33814 h 390525"/>
                <a:gd name="connsiteX38" fmla="*/ 134779 w 200025"/>
                <a:gd name="connsiteY38" fmla="*/ 47149 h 390525"/>
                <a:gd name="connsiteX39" fmla="*/ 82391 w 200025"/>
                <a:gd name="connsiteY39" fmla="*/ 47149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00025" h="390525">
                  <a:moveTo>
                    <a:pt x="154781" y="67151"/>
                  </a:moveTo>
                  <a:lnTo>
                    <a:pt x="84296" y="67151"/>
                  </a:lnTo>
                  <a:cubicBezTo>
                    <a:pt x="41434" y="67151"/>
                    <a:pt x="7144" y="101441"/>
                    <a:pt x="7144" y="144304"/>
                  </a:cubicBezTo>
                  <a:cubicBezTo>
                    <a:pt x="7144" y="183356"/>
                    <a:pt x="30004" y="208121"/>
                    <a:pt x="71914" y="218599"/>
                  </a:cubicBezTo>
                  <a:lnTo>
                    <a:pt x="70009" y="176689"/>
                  </a:lnTo>
                  <a:cubicBezTo>
                    <a:pt x="59531" y="170974"/>
                    <a:pt x="52864" y="163354"/>
                    <a:pt x="52864" y="150971"/>
                  </a:cubicBezTo>
                  <a:cubicBezTo>
                    <a:pt x="52864" y="131921"/>
                    <a:pt x="68104" y="118586"/>
                    <a:pt x="85249" y="118586"/>
                  </a:cubicBezTo>
                  <a:lnTo>
                    <a:pt x="181451" y="118586"/>
                  </a:lnTo>
                  <a:cubicBezTo>
                    <a:pt x="191929" y="118586"/>
                    <a:pt x="200501" y="110014"/>
                    <a:pt x="200501" y="99536"/>
                  </a:cubicBezTo>
                  <a:cubicBezTo>
                    <a:pt x="199549" y="73819"/>
                    <a:pt x="173831" y="67151"/>
                    <a:pt x="154781" y="67151"/>
                  </a:cubicBezTo>
                  <a:moveTo>
                    <a:pt x="146209" y="197644"/>
                  </a:moveTo>
                  <a:lnTo>
                    <a:pt x="144304" y="239554"/>
                  </a:lnTo>
                  <a:lnTo>
                    <a:pt x="144304" y="240506"/>
                  </a:lnTo>
                  <a:cubicBezTo>
                    <a:pt x="147161" y="243364"/>
                    <a:pt x="148114" y="246221"/>
                    <a:pt x="148114" y="250031"/>
                  </a:cubicBezTo>
                  <a:cubicBezTo>
                    <a:pt x="148114" y="254794"/>
                    <a:pt x="145256" y="258604"/>
                    <a:pt x="138589" y="262414"/>
                  </a:cubicBezTo>
                  <a:cubicBezTo>
                    <a:pt x="130016" y="266224"/>
                    <a:pt x="79534" y="287179"/>
                    <a:pt x="71914" y="290989"/>
                  </a:cubicBezTo>
                  <a:cubicBezTo>
                    <a:pt x="57626" y="297656"/>
                    <a:pt x="47149" y="307181"/>
                    <a:pt x="47149" y="321469"/>
                  </a:cubicBezTo>
                  <a:cubicBezTo>
                    <a:pt x="47149" y="336709"/>
                    <a:pt x="55721" y="349091"/>
                    <a:pt x="77629" y="357664"/>
                  </a:cubicBezTo>
                  <a:lnTo>
                    <a:pt x="76676" y="340519"/>
                  </a:lnTo>
                  <a:cubicBezTo>
                    <a:pt x="73819" y="338614"/>
                    <a:pt x="70009" y="334804"/>
                    <a:pt x="70009" y="330041"/>
                  </a:cubicBezTo>
                  <a:cubicBezTo>
                    <a:pt x="70009" y="323374"/>
                    <a:pt x="74771" y="319564"/>
                    <a:pt x="80486" y="317659"/>
                  </a:cubicBezTo>
                  <a:cubicBezTo>
                    <a:pt x="87154" y="314801"/>
                    <a:pt x="132874" y="300514"/>
                    <a:pt x="149066" y="294799"/>
                  </a:cubicBezTo>
                  <a:cubicBezTo>
                    <a:pt x="174784" y="285274"/>
                    <a:pt x="186214" y="271939"/>
                    <a:pt x="186214" y="248126"/>
                  </a:cubicBezTo>
                  <a:cubicBezTo>
                    <a:pt x="187166" y="226219"/>
                    <a:pt x="170974" y="209074"/>
                    <a:pt x="146209" y="197644"/>
                  </a:cubicBezTo>
                  <a:moveTo>
                    <a:pt x="88106" y="138589"/>
                  </a:moveTo>
                  <a:lnTo>
                    <a:pt x="92869" y="259556"/>
                  </a:lnTo>
                  <a:lnTo>
                    <a:pt x="124301" y="246221"/>
                  </a:lnTo>
                  <a:lnTo>
                    <a:pt x="129064" y="138589"/>
                  </a:lnTo>
                  <a:lnTo>
                    <a:pt x="88106" y="138589"/>
                  </a:lnTo>
                  <a:close/>
                  <a:moveTo>
                    <a:pt x="95726" y="332899"/>
                  </a:moveTo>
                  <a:lnTo>
                    <a:pt x="97631" y="389096"/>
                  </a:lnTo>
                  <a:lnTo>
                    <a:pt x="118586" y="381476"/>
                  </a:lnTo>
                  <a:lnTo>
                    <a:pt x="120491" y="325279"/>
                  </a:lnTo>
                  <a:lnTo>
                    <a:pt x="95726" y="332899"/>
                  </a:lnTo>
                  <a:close/>
                  <a:moveTo>
                    <a:pt x="82391" y="47149"/>
                  </a:moveTo>
                  <a:lnTo>
                    <a:pt x="81439" y="33814"/>
                  </a:lnTo>
                  <a:cubicBezTo>
                    <a:pt x="81439" y="18574"/>
                    <a:pt x="93821" y="7144"/>
                    <a:pt x="108109" y="7144"/>
                  </a:cubicBezTo>
                  <a:cubicBezTo>
                    <a:pt x="123349" y="7144"/>
                    <a:pt x="134779" y="19526"/>
                    <a:pt x="134779" y="33814"/>
                  </a:cubicBezTo>
                  <a:lnTo>
                    <a:pt x="134779" y="47149"/>
                  </a:lnTo>
                  <a:lnTo>
                    <a:pt x="82391" y="47149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8" name="Title 1">
            <a:extLst>
              <a:ext uri="{FF2B5EF4-FFF2-40B4-BE49-F238E27FC236}">
                <a16:creationId xmlns:a16="http://schemas.microsoft.com/office/drawing/2014/main" id="{E3D3C0E8-2EE3-95F9-2F78-97C340BC72B1}"/>
              </a:ext>
            </a:extLst>
          </p:cNvPr>
          <p:cNvSpPr txBox="1">
            <a:spLocks/>
          </p:cNvSpPr>
          <p:nvPr/>
        </p:nvSpPr>
        <p:spPr>
          <a:xfrm>
            <a:off x="-269377" y="2047134"/>
            <a:ext cx="9546454" cy="28058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  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28BA3B82-D8D9-B2B2-6F0C-06FDB47CA764}"/>
              </a:ext>
            </a:extLst>
          </p:cNvPr>
          <p:cNvGrpSpPr/>
          <p:nvPr/>
        </p:nvGrpSpPr>
        <p:grpSpPr>
          <a:xfrm>
            <a:off x="3298031" y="6021825"/>
            <a:ext cx="5544043" cy="100584"/>
            <a:chOff x="3298031" y="2536778"/>
            <a:chExt cx="5544043" cy="100584"/>
          </a:xfrm>
        </p:grpSpPr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4A6AEFFB-662F-FFBE-D06E-2255E5B3580A}"/>
                </a:ext>
              </a:extLst>
            </p:cNvPr>
            <p:cNvSpPr/>
            <p:nvPr/>
          </p:nvSpPr>
          <p:spPr>
            <a:xfrm>
              <a:off x="3298031" y="2536778"/>
              <a:ext cx="3152624" cy="100584"/>
            </a:xfrm>
            <a:prstGeom prst="ellipse">
              <a:avLst/>
            </a:prstGeom>
            <a:gradFill>
              <a:gsLst>
                <a:gs pos="0">
                  <a:sysClr val="windowText" lastClr="000000">
                    <a:alpha val="20000"/>
                  </a:sysClr>
                </a:gs>
                <a:gs pos="100000">
                  <a:sysClr val="windowText" lastClr="000000">
                    <a:gamma/>
                    <a:shade val="46275"/>
                    <a:invGamma/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14856E38-445B-D17F-2DED-EC4342D70B03}"/>
                </a:ext>
              </a:extLst>
            </p:cNvPr>
            <p:cNvSpPr/>
            <p:nvPr/>
          </p:nvSpPr>
          <p:spPr>
            <a:xfrm>
              <a:off x="6591300" y="2536778"/>
              <a:ext cx="2250774" cy="100584"/>
            </a:xfrm>
            <a:prstGeom prst="ellipse">
              <a:avLst/>
            </a:prstGeom>
            <a:gradFill>
              <a:gsLst>
                <a:gs pos="0">
                  <a:sysClr val="windowText" lastClr="000000">
                    <a:alpha val="20000"/>
                  </a:sysClr>
                </a:gs>
                <a:gs pos="100000">
                  <a:sysClr val="windowText" lastClr="000000">
                    <a:gamma/>
                    <a:shade val="46275"/>
                    <a:invGamma/>
                    <a:alpha val="0"/>
                  </a:sysClr>
                </a:gs>
              </a:gsLst>
              <a:path path="shape">
                <a:fillToRect l="50000" t="50000" r="50000" b="50000"/>
              </a:path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itel 1">
            <a:extLst>
              <a:ext uri="{FF2B5EF4-FFF2-40B4-BE49-F238E27FC236}">
                <a16:creationId xmlns:a16="http://schemas.microsoft.com/office/drawing/2014/main" id="{28638B13-0853-32E3-5DF0-FD3DD6CEB8AF}"/>
              </a:ext>
            </a:extLst>
          </p:cNvPr>
          <p:cNvSpPr txBox="1">
            <a:spLocks/>
          </p:cNvSpPr>
          <p:nvPr/>
        </p:nvSpPr>
        <p:spPr>
          <a:xfrm>
            <a:off x="266859" y="107255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Product Contribu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DA1C7F-7649-AA4E-A2EC-63A4528AF857}"/>
              </a:ext>
            </a:extLst>
          </p:cNvPr>
          <p:cNvSpPr/>
          <p:nvPr/>
        </p:nvSpPr>
        <p:spPr>
          <a:xfrm>
            <a:off x="430459" y="1121041"/>
            <a:ext cx="1872000" cy="187892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Novus:</a:t>
            </a:r>
          </a:p>
          <a:p>
            <a:pPr algn="ctr"/>
            <a:r>
              <a:rPr lang="en-US" dirty="0"/>
              <a:t>1.3.4</a:t>
            </a:r>
          </a:p>
          <a:p>
            <a:pPr algn="ctr"/>
            <a:r>
              <a:rPr lang="en-US" dirty="0"/>
              <a:t>1.3.6</a:t>
            </a:r>
          </a:p>
          <a:p>
            <a:pPr algn="ctr"/>
            <a:r>
              <a:rPr lang="en-US" dirty="0"/>
              <a:t>1.4</a:t>
            </a:r>
          </a:p>
          <a:p>
            <a:pPr algn="ctr"/>
            <a:r>
              <a:rPr lang="en-US" dirty="0"/>
              <a:t>1.4.1 (On going)</a:t>
            </a:r>
          </a:p>
          <a:p>
            <a:pPr algn="ctr"/>
            <a:endParaRPr lang="en-US" b="1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07D685A-264E-A4F8-F5DC-74EE91444F8F}"/>
              </a:ext>
            </a:extLst>
          </p:cNvPr>
          <p:cNvSpPr/>
          <p:nvPr/>
        </p:nvSpPr>
        <p:spPr>
          <a:xfrm>
            <a:off x="2863586" y="1121041"/>
            <a:ext cx="1872000" cy="187892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DCA:</a:t>
            </a:r>
          </a:p>
          <a:p>
            <a:pPr algn="ctr"/>
            <a:r>
              <a:rPr lang="en-US" dirty="0"/>
              <a:t>4.5</a:t>
            </a:r>
          </a:p>
          <a:p>
            <a:pPr algn="ctr"/>
            <a:r>
              <a:rPr lang="en-US" dirty="0"/>
              <a:t>4.6</a:t>
            </a:r>
          </a:p>
          <a:p>
            <a:pPr algn="ctr"/>
            <a:r>
              <a:rPr lang="en-US" dirty="0"/>
              <a:t>4.7</a:t>
            </a:r>
          </a:p>
          <a:p>
            <a:pPr algn="ctr"/>
            <a:r>
              <a:rPr lang="en-US" dirty="0"/>
              <a:t>DCA Simulator</a:t>
            </a:r>
          </a:p>
          <a:p>
            <a:pPr algn="ctr"/>
            <a:r>
              <a:rPr lang="en-US" dirty="0"/>
              <a:t>4.8 (On going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B7F5793-4819-77F8-6080-817741C0AA8B}"/>
              </a:ext>
            </a:extLst>
          </p:cNvPr>
          <p:cNvSpPr/>
          <p:nvPr/>
        </p:nvSpPr>
        <p:spPr>
          <a:xfrm>
            <a:off x="5338274" y="1121041"/>
            <a:ext cx="1872000" cy="1878926"/>
          </a:xfrm>
          <a:prstGeom prst="round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Clinitek Status:</a:t>
            </a:r>
          </a:p>
          <a:p>
            <a:pPr algn="ctr"/>
            <a:r>
              <a:rPr lang="en-US" dirty="0"/>
              <a:t>2.650(On going) 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FDE1889-CDFB-1C35-1CF0-D50CF04CE152}"/>
              </a:ext>
            </a:extLst>
          </p:cNvPr>
          <p:cNvSpPr/>
          <p:nvPr/>
        </p:nvSpPr>
        <p:spPr>
          <a:xfrm>
            <a:off x="7754402" y="1107671"/>
            <a:ext cx="1872000" cy="187892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/>
              <a:t>Lab Setups:</a:t>
            </a:r>
          </a:p>
          <a:p>
            <a:pPr algn="ctr"/>
            <a:r>
              <a:rPr lang="en-US" b="1" dirty="0"/>
              <a:t>ACM</a:t>
            </a:r>
          </a:p>
          <a:p>
            <a:pPr algn="ctr"/>
            <a:r>
              <a:rPr lang="en-US" b="1" dirty="0"/>
              <a:t>ADM</a:t>
            </a:r>
          </a:p>
          <a:p>
            <a:pPr algn="ctr"/>
            <a:r>
              <a:rPr lang="en-US" b="1" dirty="0"/>
              <a:t>APM</a:t>
            </a:r>
          </a:p>
          <a:p>
            <a:pPr algn="ctr"/>
            <a:r>
              <a:rPr lang="en-US" b="1" dirty="0" err="1"/>
              <a:t>POCCelarator</a:t>
            </a:r>
            <a:endParaRPr lang="en-US" dirty="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A551672-8D08-0033-57C1-17B4E2D4DCE6}"/>
              </a:ext>
            </a:extLst>
          </p:cNvPr>
          <p:cNvSpPr/>
          <p:nvPr/>
        </p:nvSpPr>
        <p:spPr>
          <a:xfrm>
            <a:off x="644666" y="3710314"/>
            <a:ext cx="9264717" cy="187892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/>
              <a:t>Feasibility studies:</a:t>
            </a:r>
          </a:p>
          <a:p>
            <a:pPr lvl="0"/>
            <a:r>
              <a:rPr lang="en-US" b="1" dirty="0"/>
              <a:t>Win10 IOT core</a:t>
            </a:r>
            <a:endParaRPr lang="en-US" dirty="0"/>
          </a:p>
          <a:p>
            <a:pPr lvl="0"/>
            <a:r>
              <a:rPr lang="en-US" b="1" dirty="0"/>
              <a:t>Linux migration</a:t>
            </a:r>
            <a:endParaRPr lang="en-US" dirty="0"/>
          </a:p>
          <a:p>
            <a:pPr lvl="0"/>
            <a:r>
              <a:rPr lang="en-US" b="1" dirty="0"/>
              <a:t>SRS connectivity to NOVUS</a:t>
            </a:r>
            <a:endParaRPr lang="en-US" dirty="0"/>
          </a:p>
          <a:p>
            <a:pPr lvl="0"/>
            <a:r>
              <a:rPr lang="en-US" b="1" dirty="0"/>
              <a:t>NOVUS </a:t>
            </a:r>
            <a:r>
              <a:rPr lang="en-US" b="1" u="sng" dirty="0"/>
              <a:t>UI</a:t>
            </a:r>
            <a:r>
              <a:rPr lang="en-US" b="1" dirty="0"/>
              <a:t> migration to Angul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637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F583191-4383-5CFC-28AA-061D532844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89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F583191-4383-5CFC-28AA-061D532844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>
            <a:extLst>
              <a:ext uri="{FF2B5EF4-FFF2-40B4-BE49-F238E27FC236}">
                <a16:creationId xmlns:a16="http://schemas.microsoft.com/office/drawing/2014/main" id="{180CC159-4615-FF39-73A1-D2C5ACFEB2CE}"/>
              </a:ext>
            </a:extLst>
          </p:cNvPr>
          <p:cNvSpPr txBox="1">
            <a:spLocks/>
          </p:cNvSpPr>
          <p:nvPr/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I based OP guide</a:t>
            </a:r>
          </a:p>
        </p:txBody>
      </p:sp>
      <p:pic>
        <p:nvPicPr>
          <p:cNvPr id="4098" name="Picture 2" descr="Ask a Book Questions Workflow">
            <a:extLst>
              <a:ext uri="{FF2B5EF4-FFF2-40B4-BE49-F238E27FC236}">
                <a16:creationId xmlns:a16="http://schemas.microsoft.com/office/drawing/2014/main" id="{FA51DF44-2FE3-B6A4-DA9C-80CE0D6D8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343" y="872716"/>
            <a:ext cx="9325036" cy="460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6385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F583191-4383-5CFC-28AA-061D532844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F583191-4383-5CFC-28AA-061D532844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>
            <a:extLst>
              <a:ext uri="{FF2B5EF4-FFF2-40B4-BE49-F238E27FC236}">
                <a16:creationId xmlns:a16="http://schemas.microsoft.com/office/drawing/2014/main" id="{180CC159-4615-FF39-73A1-D2C5ACFEB2CE}"/>
              </a:ext>
            </a:extLst>
          </p:cNvPr>
          <p:cNvSpPr txBox="1">
            <a:spLocks/>
          </p:cNvSpPr>
          <p:nvPr/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I based OP gui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1516F8-BF50-CD02-DFBE-6B1C2AC33B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92699" y="495300"/>
            <a:ext cx="4924425" cy="636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83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5BC1E-D662-886D-1844-62467B93B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</p:spPr>
        <p:txBody>
          <a:bodyPr anchor="t">
            <a:normAutofit/>
          </a:bodyPr>
          <a:lstStyle/>
          <a:p>
            <a:r>
              <a:rPr lang="en-US" dirty="0"/>
              <a:t>Proposal2: AI Enabled Mega lab management</a:t>
            </a: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54A578AE-82B8-55C4-9B08-299AB4D50A11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3627005650"/>
              </p:ext>
            </p:extLst>
          </p:nvPr>
        </p:nvGraphicFramePr>
        <p:xfrm>
          <a:off x="543457" y="1143000"/>
          <a:ext cx="92124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941208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9688C1-4F59-4F17-8AD0-D0FF4E363B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07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9688C1-4F59-4F17-8AD0-D0FF4E363B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Thank you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031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4CC77A-D56F-4686-87B7-31123B609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677" y="7836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4CC77A-D56F-4686-87B7-31123B609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77" y="7836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uthor">
            <a:extLst>
              <a:ext uri="{FF2B5EF4-FFF2-40B4-BE49-F238E27FC236}">
                <a16:creationId xmlns:a16="http://schemas.microsoft.com/office/drawing/2014/main" id="{8B594833-DE2B-957F-8A8E-4507B86E0178}"/>
              </a:ext>
            </a:extLst>
          </p:cNvPr>
          <p:cNvSpPr txBox="1">
            <a:spLocks/>
          </p:cNvSpPr>
          <p:nvPr/>
        </p:nvSpPr>
        <p:spPr>
          <a:xfrm>
            <a:off x="8054975" y="6335163"/>
            <a:ext cx="3259452" cy="1437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54">
              <a:defRPr/>
            </a:pPr>
            <a:r>
              <a:rPr lang="en-US" sz="998">
                <a:solidFill>
                  <a:srgbClr val="000000"/>
                </a:solidFill>
                <a:latin typeface="Calibri"/>
              </a:rPr>
              <a:t>Author | Depart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EA6E15A-DA0A-5F59-6BB6-A5FAED659C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636" y="3010094"/>
            <a:ext cx="7337425" cy="1658287"/>
          </a:xfrm>
        </p:spPr>
        <p:txBody>
          <a:bodyPr anchor="ctr"/>
          <a:lstStyle/>
          <a:p>
            <a:r>
              <a:rPr lang="en-US" dirty="0"/>
              <a:t>POC</a:t>
            </a:r>
          </a:p>
          <a:p>
            <a:r>
              <a:rPr lang="en-US" dirty="0"/>
              <a:t>Centralized </a:t>
            </a:r>
          </a:p>
          <a:p>
            <a:r>
              <a:rPr lang="en-US" dirty="0"/>
              <a:t>Urinalysis </a:t>
            </a:r>
          </a:p>
        </p:txBody>
      </p:sp>
      <p:pic>
        <p:nvPicPr>
          <p:cNvPr id="2" name="Picture 1" descr="A picture containing indoor, computer, desk, table&#10;&#10;Description automatically generated">
            <a:extLst>
              <a:ext uri="{FF2B5EF4-FFF2-40B4-BE49-F238E27FC236}">
                <a16:creationId xmlns:a16="http://schemas.microsoft.com/office/drawing/2014/main" id="{4F9B45DE-D420-6976-8144-E1B232645E0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"/>
          <a:stretch/>
        </p:blipFill>
        <p:spPr>
          <a:xfrm>
            <a:off x="3024547" y="621747"/>
            <a:ext cx="8855335" cy="279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54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4CC77A-D56F-4686-87B7-31123B609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677" y="7836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4CC77A-D56F-4686-87B7-31123B609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77" y="7836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uthor">
            <a:extLst>
              <a:ext uri="{FF2B5EF4-FFF2-40B4-BE49-F238E27FC236}">
                <a16:creationId xmlns:a16="http://schemas.microsoft.com/office/drawing/2014/main" id="{8B594833-DE2B-957F-8A8E-4507B86E0178}"/>
              </a:ext>
            </a:extLst>
          </p:cNvPr>
          <p:cNvSpPr txBox="1">
            <a:spLocks/>
          </p:cNvSpPr>
          <p:nvPr/>
        </p:nvSpPr>
        <p:spPr>
          <a:xfrm>
            <a:off x="8054975" y="6335163"/>
            <a:ext cx="3259452" cy="1437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54">
              <a:defRPr/>
            </a:pPr>
            <a:r>
              <a:rPr lang="en-US" sz="998">
                <a:solidFill>
                  <a:srgbClr val="000000"/>
                </a:solidFill>
                <a:latin typeface="Calibri"/>
              </a:rPr>
              <a:t>Author | Department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DBEFB67A-0D75-BD3B-51A1-DE47C8567189}"/>
              </a:ext>
            </a:extLst>
          </p:cNvPr>
          <p:cNvSpPr txBox="1">
            <a:spLocks/>
          </p:cNvSpPr>
          <p:nvPr/>
        </p:nvSpPr>
        <p:spPr>
          <a:xfrm>
            <a:off x="266859" y="383717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vus Refresh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B208A18-16CC-E97E-C62B-93EFB4C566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6323259"/>
              </p:ext>
            </p:extLst>
          </p:nvPr>
        </p:nvGraphicFramePr>
        <p:xfrm>
          <a:off x="720291" y="1844824"/>
          <a:ext cx="8388932" cy="2484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35570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7C605D9-6C53-4199-9478-591E4F52EC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46" t="11093" r="26426" b="19539"/>
          <a:stretch/>
        </p:blipFill>
        <p:spPr>
          <a:xfrm>
            <a:off x="5237162" y="0"/>
            <a:ext cx="6932613" cy="6857999"/>
          </a:xfrm>
          <a:prstGeom prst="rect">
            <a:avLst/>
          </a:prstGeom>
        </p:spPr>
      </p:pic>
      <p:sp>
        <p:nvSpPr>
          <p:cNvPr id="2" name="Subhead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3" name="Headlin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tellica 1500 on Automation Track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rikanth Aakuthota</a:t>
            </a:r>
          </a:p>
        </p:txBody>
      </p:sp>
      <p:sp>
        <p:nvSpPr>
          <p:cNvPr id="7" name="Restricted"/>
          <p:cNvSpPr txBox="1"/>
          <p:nvPr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tricted © Siemens Healthineers, 2019</a:t>
            </a:r>
          </a:p>
        </p:txBody>
      </p:sp>
      <p:pic>
        <p:nvPicPr>
          <p:cNvPr id="9" name="Dot pulse">
            <a:extLst>
              <a:ext uri="{FF2B5EF4-FFF2-40B4-BE49-F238E27FC236}">
                <a16:creationId xmlns:a16="http://schemas.microsoft.com/office/drawing/2014/main" id="{9A4538E4-1041-4C02-B950-FBC99072CF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1238" y="5896403"/>
            <a:ext cx="2826000" cy="14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476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4057D-39B9-4C02-B6E5-CDE0CB9B5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tellica 1500 on Automation Track</a:t>
            </a:r>
            <a:br>
              <a:rPr lang="de-DE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AEACE6-CBA6-4036-894A-18C5DC998D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423A1F-6BD6-448A-BA67-7054C8B07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818" y="681037"/>
            <a:ext cx="10496431" cy="57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747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2" y="0"/>
            <a:ext cx="1216673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159675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0213D2-1823-4DCC-8097-43FFF8119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581" y="1153572"/>
            <a:ext cx="3194566" cy="4461163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Rack orientation </a:t>
            </a: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36638" y="2455479"/>
            <a:ext cx="4075989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3C3672-EF7F-4C42-989F-2E1DF9FAA2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4659" y="396206"/>
            <a:ext cx="7606607" cy="6313066"/>
          </a:xfrm>
        </p:spPr>
        <p:txBody>
          <a:bodyPr anchor="ctr"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</a:rPr>
              <a:t>Novus Rack </a:t>
            </a:r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ientation will be the same in the 800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rom 77e side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y will make the pipetting arm of the 800 longer so the pipette will be outside the 800.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the rack mechanism inside the 800 would be obsolete (cost down).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rom our side 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nce the orientation of the rack would be the same as in the Novus we will need to change the RH (Rack Handler) design.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 will allow us to have :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 better workflow (without the need for rotation ) 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lan for the cascaded solution in a better way and in the future automation connectivity as well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tem cost will be lower them the current one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64880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4CC77A-D56F-4686-87B7-31123B609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677" y="7836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4CC77A-D56F-4686-87B7-31123B609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77" y="7836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8" descr="Urine Test Strips by Siemens, MULTISTIX test strip 10 SG REAGENT - JIT4You  Medical Solutions">
            <a:extLst>
              <a:ext uri="{FF2B5EF4-FFF2-40B4-BE49-F238E27FC236}">
                <a16:creationId xmlns:a16="http://schemas.microsoft.com/office/drawing/2014/main" id="{2BD1C4BB-2B71-53AA-99A6-BFCBA2C0F4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1327" y="2791540"/>
            <a:ext cx="1666812" cy="1983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4" descr="Semi Automatic Siemens Clinitek Status Urine Analyzers, | ID: 21207945791">
            <a:extLst>
              <a:ext uri="{FF2B5EF4-FFF2-40B4-BE49-F238E27FC236}">
                <a16:creationId xmlns:a16="http://schemas.microsoft.com/office/drawing/2014/main" id="{23B2EAAD-5794-B27B-8883-1365FE6CF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001" y="2592433"/>
            <a:ext cx="2358509" cy="235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hor">
            <a:extLst>
              <a:ext uri="{FF2B5EF4-FFF2-40B4-BE49-F238E27FC236}">
                <a16:creationId xmlns:a16="http://schemas.microsoft.com/office/drawing/2014/main" id="{8B594833-DE2B-957F-8A8E-4507B86E0178}"/>
              </a:ext>
            </a:extLst>
          </p:cNvPr>
          <p:cNvSpPr txBox="1">
            <a:spLocks/>
          </p:cNvSpPr>
          <p:nvPr/>
        </p:nvSpPr>
        <p:spPr>
          <a:xfrm>
            <a:off x="8054975" y="6335163"/>
            <a:ext cx="3259452" cy="1437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2754">
              <a:defRPr/>
            </a:pPr>
            <a:r>
              <a:rPr lang="en-US" sz="998">
                <a:solidFill>
                  <a:srgbClr val="000000"/>
                </a:solidFill>
                <a:latin typeface="Calibri"/>
              </a:rPr>
              <a:t>Author | Department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EA6E15A-DA0A-5F59-6BB6-A5FAED659C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636" y="3010094"/>
            <a:ext cx="7337425" cy="1658287"/>
          </a:xfrm>
        </p:spPr>
        <p:txBody>
          <a:bodyPr anchor="ctr"/>
          <a:lstStyle/>
          <a:p>
            <a:r>
              <a:rPr lang="en-US"/>
              <a:t>POC</a:t>
            </a:r>
          </a:p>
          <a:p>
            <a:r>
              <a:rPr lang="en-US"/>
              <a:t>Decentralized </a:t>
            </a:r>
          </a:p>
          <a:p>
            <a:r>
              <a:rPr lang="en-US"/>
              <a:t>Urinalysis </a:t>
            </a:r>
          </a:p>
        </p:txBody>
      </p:sp>
    </p:spTree>
    <p:extLst>
      <p:ext uri="{BB962C8B-B14F-4D97-AF65-F5344CB8AC3E}">
        <p14:creationId xmlns:p14="http://schemas.microsoft.com/office/powerpoint/2010/main" val="143750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CBF503F-02BD-4863-A748-3000B4C1E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5" y="7836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CBF503F-02BD-4863-A748-3000B4C1E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5" y="7836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782945-87B6-81B8-D685-8A97E9B4D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y the CLINITEK Status Connect Win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28ED2-B9E7-C48F-3B28-2350367C1D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9999" y="6292119"/>
            <a:ext cx="6657281" cy="359344"/>
          </a:xfrm>
        </p:spPr>
        <p:txBody>
          <a:bodyPr/>
          <a:lstStyle/>
          <a:p>
            <a:pPr>
              <a:spcAft>
                <a:spcPts val="599"/>
              </a:spcAft>
            </a:pPr>
            <a:r>
              <a:rPr lang="en-US" sz="998" dirty="0">
                <a:solidFill>
                  <a:srgbClr val="000000"/>
                </a:solidFill>
                <a:latin typeface="Calibri"/>
              </a:rPr>
              <a:t>        = No functionality available	    = Partial functionality available	        = Full functionality available</a:t>
            </a:r>
          </a:p>
          <a:p>
            <a:r>
              <a:rPr lang="en-US" sz="998" b="1" dirty="0">
                <a:solidFill>
                  <a:srgbClr val="000000"/>
                </a:solidFill>
                <a:latin typeface="Calibri"/>
              </a:rPr>
              <a:t>*CLINITEK Status Connect System does not support ASTM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14AB4C-392F-20AE-6F00-B7CED2EDD6E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defTabSz="912754">
              <a:defRPr/>
            </a:pPr>
            <a:r>
              <a:rPr lang="en-US" sz="998">
                <a:solidFill>
                  <a:srgbClr val="000000"/>
                </a:solidFill>
                <a:latin typeface="Calibri"/>
              </a:rPr>
              <a:t>Author | Department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15099A1-07EB-7CC2-3CBD-7B2C35AE0145}"/>
              </a:ext>
            </a:extLst>
          </p:cNvPr>
          <p:cNvGraphicFramePr>
            <a:graphicFrameLocks noGrp="1"/>
          </p:cNvGraphicFramePr>
          <p:nvPr/>
        </p:nvGraphicFramePr>
        <p:xfrm>
          <a:off x="1297792" y="1622549"/>
          <a:ext cx="10309445" cy="4566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75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8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4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55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55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755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907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876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60208"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Siemens CLINITEK Status Connect*</a:t>
                      </a: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Roche URISYS 1100</a:t>
                      </a: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bg1"/>
                          </a:solidFill>
                        </a:rPr>
                        <a:t>Acon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 MISSION U120</a:t>
                      </a: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bg1"/>
                          </a:solidFill>
                        </a:rPr>
                        <a:t>Acon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 MISSION</a:t>
                      </a: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U120 ULTRA</a:t>
                      </a: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TG CLARITY</a:t>
                      </a: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 UROCHECK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12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YD </a:t>
                      </a:r>
                      <a:r>
                        <a:rPr lang="en-US" sz="1000" dirty="0" err="1">
                          <a:solidFill>
                            <a:schemeClr val="bg1"/>
                          </a:solidFill>
                        </a:rPr>
                        <a:t>Diag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 URISCAN OPTIMA II</a:t>
                      </a: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bg1"/>
                          </a:solidFill>
                        </a:rPr>
                        <a:t>Analyticon</a:t>
                      </a: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 URILYZER 100 Pro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90894" marR="90894" marT="45543" marB="45543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60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Touch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scree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7467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Menu: Routine, Kidney Disease, </a:t>
                      </a:r>
                      <a:r>
                        <a:rPr lang="en-US" sz="1000" b="1" dirty="0" err="1">
                          <a:solidFill>
                            <a:schemeClr val="tx1"/>
                          </a:solidFill>
                        </a:rPr>
                        <a:t>hC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Automatic calibration</a:t>
                      </a: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Auto-checks</a:t>
                      </a: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Lot/Expiration entry/Tracking</a:t>
                      </a: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C6602"/>
                        </a:solidFill>
                        <a:effectLst/>
                        <a:uLnTx/>
                        <a:uFillTx/>
                        <a:latin typeface="Wingdings" pitchFamily="2" charset="2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Operator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 management/Lockou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r code</a:t>
                      </a: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Patient result storage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 &gt;70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4541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On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board storage of quality control result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04541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Data management software interfaces</a:t>
                      </a: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idirectional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 capability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HL7, POCT1A, ASTM</a:t>
                      </a: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0008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Wireless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 capability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9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894" marR="90894" marT="45543" marB="45543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4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1200" dirty="0">
                        <a:solidFill>
                          <a:srgbClr val="009999"/>
                        </a:solidFill>
                      </a:endParaRPr>
                    </a:p>
                  </a:txBody>
                  <a:tcPr marL="90894" marR="90894" marT="45543" marB="455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pSp>
        <p:nvGrpSpPr>
          <p:cNvPr id="336" name="Group 335">
            <a:extLst>
              <a:ext uri="{FF2B5EF4-FFF2-40B4-BE49-F238E27FC236}">
                <a16:creationId xmlns:a16="http://schemas.microsoft.com/office/drawing/2014/main" id="{DB469CE6-D5FD-20EA-72FF-24D1FE744E6F}"/>
              </a:ext>
            </a:extLst>
          </p:cNvPr>
          <p:cNvGrpSpPr/>
          <p:nvPr/>
        </p:nvGrpSpPr>
        <p:grpSpPr>
          <a:xfrm>
            <a:off x="3840116" y="2228062"/>
            <a:ext cx="7278104" cy="3904692"/>
            <a:chOff x="3847129" y="2225868"/>
            <a:chExt cx="7291396" cy="391182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546223A-18BA-4D64-EFDB-2CBE0B47687C}"/>
                </a:ext>
              </a:extLst>
            </p:cNvPr>
            <p:cNvGrpSpPr/>
            <p:nvPr/>
          </p:nvGrpSpPr>
          <p:grpSpPr>
            <a:xfrm>
              <a:off x="3847129" y="2231508"/>
              <a:ext cx="180000" cy="180000"/>
              <a:chOff x="3875704" y="2241033"/>
              <a:chExt cx="180000" cy="1800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619D0C89-DCDD-339E-1F5B-E929C6BA80A8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7" name="Freeform 33">
                <a:extLst>
                  <a:ext uri="{FF2B5EF4-FFF2-40B4-BE49-F238E27FC236}">
                    <a16:creationId xmlns:a16="http://schemas.microsoft.com/office/drawing/2014/main" id="{08BFE670-CFDF-73CC-F192-C8D736E8E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BC2DECC-30BB-4613-48B6-C0441C3B4A47}"/>
                </a:ext>
              </a:extLst>
            </p:cNvPr>
            <p:cNvGrpSpPr/>
            <p:nvPr/>
          </p:nvGrpSpPr>
          <p:grpSpPr>
            <a:xfrm>
              <a:off x="5056188" y="2225868"/>
              <a:ext cx="180000" cy="180000"/>
              <a:chOff x="4204188" y="1155438"/>
              <a:chExt cx="180000" cy="180000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F570D2B1-526C-47A5-F7B8-1E53AA499EE0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5" name="Freeform 29">
                <a:extLst>
                  <a:ext uri="{FF2B5EF4-FFF2-40B4-BE49-F238E27FC236}">
                    <a16:creationId xmlns:a16="http://schemas.microsoft.com/office/drawing/2014/main" id="{1F5B8863-BD0D-CCAA-EA9A-1AD8C599B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18EC84E-445B-B370-D9CD-DDF8780AA965}"/>
                </a:ext>
              </a:extLst>
            </p:cNvPr>
            <p:cNvGrpSpPr/>
            <p:nvPr/>
          </p:nvGrpSpPr>
          <p:grpSpPr>
            <a:xfrm>
              <a:off x="3847129" y="2555358"/>
              <a:ext cx="180000" cy="180000"/>
              <a:chOff x="3875704" y="2241033"/>
              <a:chExt cx="180000" cy="18000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3843A65C-54E1-8E27-CC5C-BA303D668C80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9" name="Freeform 33">
                <a:extLst>
                  <a:ext uri="{FF2B5EF4-FFF2-40B4-BE49-F238E27FC236}">
                    <a16:creationId xmlns:a16="http://schemas.microsoft.com/office/drawing/2014/main" id="{B08CA90E-358F-AF81-D30A-A27F227FB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A6AC1E0-3924-B99E-FCF9-9A54DCB8FEF5}"/>
                </a:ext>
              </a:extLst>
            </p:cNvPr>
            <p:cNvGrpSpPr/>
            <p:nvPr/>
          </p:nvGrpSpPr>
          <p:grpSpPr>
            <a:xfrm>
              <a:off x="3847129" y="2902534"/>
              <a:ext cx="180000" cy="180000"/>
              <a:chOff x="3875704" y="2241033"/>
              <a:chExt cx="180000" cy="1800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B21BB7A-417B-6202-95D7-6D13344E9E48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2" name="Freeform 33">
                <a:extLst>
                  <a:ext uri="{FF2B5EF4-FFF2-40B4-BE49-F238E27FC236}">
                    <a16:creationId xmlns:a16="http://schemas.microsoft.com/office/drawing/2014/main" id="{B0BB8955-0C8C-081E-050C-E3EF893B1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41C2411-5FE5-35C7-8E7D-76744F0EF7DE}"/>
                </a:ext>
              </a:extLst>
            </p:cNvPr>
            <p:cNvGrpSpPr/>
            <p:nvPr/>
          </p:nvGrpSpPr>
          <p:grpSpPr>
            <a:xfrm>
              <a:off x="3847129" y="3197806"/>
              <a:ext cx="180000" cy="180000"/>
              <a:chOff x="3875704" y="2241033"/>
              <a:chExt cx="180000" cy="180000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D05BF7C7-6AA0-D392-7CDF-7F1A6644A4D5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5" name="Freeform 33">
                <a:extLst>
                  <a:ext uri="{FF2B5EF4-FFF2-40B4-BE49-F238E27FC236}">
                    <a16:creationId xmlns:a16="http://schemas.microsoft.com/office/drawing/2014/main" id="{E10B0DC4-E4D1-D520-28D1-1DFB3462A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38E81AF-A47C-9B91-FCF6-AAC0ED7EE02B}"/>
                </a:ext>
              </a:extLst>
            </p:cNvPr>
            <p:cNvGrpSpPr/>
            <p:nvPr/>
          </p:nvGrpSpPr>
          <p:grpSpPr>
            <a:xfrm>
              <a:off x="3847129" y="3469271"/>
              <a:ext cx="180000" cy="180000"/>
              <a:chOff x="3875704" y="2241033"/>
              <a:chExt cx="180000" cy="18000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6580ED8C-3523-36D5-6AF4-96EF84379419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8" name="Freeform 33">
                <a:extLst>
                  <a:ext uri="{FF2B5EF4-FFF2-40B4-BE49-F238E27FC236}">
                    <a16:creationId xmlns:a16="http://schemas.microsoft.com/office/drawing/2014/main" id="{A70538AC-3224-F8DC-DF29-D1D3C028D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908CE07-96B7-DCA2-09B0-23E76B880E83}"/>
                </a:ext>
              </a:extLst>
            </p:cNvPr>
            <p:cNvGrpSpPr/>
            <p:nvPr/>
          </p:nvGrpSpPr>
          <p:grpSpPr>
            <a:xfrm>
              <a:off x="3847129" y="3748869"/>
              <a:ext cx="180000" cy="180000"/>
              <a:chOff x="3875704" y="2241033"/>
              <a:chExt cx="180000" cy="180000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5D0BE62-ACE5-0CDF-787B-6CE4297260F9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1" name="Freeform 33">
                <a:extLst>
                  <a:ext uri="{FF2B5EF4-FFF2-40B4-BE49-F238E27FC236}">
                    <a16:creationId xmlns:a16="http://schemas.microsoft.com/office/drawing/2014/main" id="{AF0CECA6-94EB-B72B-7FA9-B28029535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6574541-5822-9560-D861-4B8AA016BAC2}"/>
                </a:ext>
              </a:extLst>
            </p:cNvPr>
            <p:cNvGrpSpPr/>
            <p:nvPr/>
          </p:nvGrpSpPr>
          <p:grpSpPr>
            <a:xfrm>
              <a:off x="3847129" y="4036008"/>
              <a:ext cx="180000" cy="180000"/>
              <a:chOff x="3875704" y="2241033"/>
              <a:chExt cx="180000" cy="18000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11EB717-E3A7-8D35-D862-D2DEF39DE3DB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A7E0DCF1-3EC8-AA63-87D1-70654A30C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CFE7E92-62FD-E413-0D53-BF5B558EB0A9}"/>
                </a:ext>
              </a:extLst>
            </p:cNvPr>
            <p:cNvGrpSpPr/>
            <p:nvPr/>
          </p:nvGrpSpPr>
          <p:grpSpPr>
            <a:xfrm>
              <a:off x="3847129" y="4310843"/>
              <a:ext cx="180000" cy="180000"/>
              <a:chOff x="3875704" y="2241033"/>
              <a:chExt cx="180000" cy="180000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7CCF99C0-3CF5-7697-238A-3D806014D0CB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37" name="Freeform 33">
                <a:extLst>
                  <a:ext uri="{FF2B5EF4-FFF2-40B4-BE49-F238E27FC236}">
                    <a16:creationId xmlns:a16="http://schemas.microsoft.com/office/drawing/2014/main" id="{81734623-5ED1-878E-DC2C-516250FE7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887DA04-0630-CE77-7C1F-E3F62E234C0D}"/>
                </a:ext>
              </a:extLst>
            </p:cNvPr>
            <p:cNvGrpSpPr/>
            <p:nvPr/>
          </p:nvGrpSpPr>
          <p:grpSpPr>
            <a:xfrm>
              <a:off x="3847129" y="4654479"/>
              <a:ext cx="180000" cy="180000"/>
              <a:chOff x="3875704" y="2241033"/>
              <a:chExt cx="180000" cy="180000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54871A1-4237-35A6-AB39-28C2C3624BB2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40" name="Freeform 33">
                <a:extLst>
                  <a:ext uri="{FF2B5EF4-FFF2-40B4-BE49-F238E27FC236}">
                    <a16:creationId xmlns:a16="http://schemas.microsoft.com/office/drawing/2014/main" id="{266B4DCD-2748-1492-6653-D986EE2A8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FA1FF945-441E-9CF0-FFD2-64C91B26887F}"/>
                </a:ext>
              </a:extLst>
            </p:cNvPr>
            <p:cNvGrpSpPr/>
            <p:nvPr/>
          </p:nvGrpSpPr>
          <p:grpSpPr>
            <a:xfrm>
              <a:off x="3847129" y="5059767"/>
              <a:ext cx="180000" cy="180000"/>
              <a:chOff x="3875704" y="2241033"/>
              <a:chExt cx="180000" cy="180000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B31B0B1-F019-8858-782C-1314090306A0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43" name="Freeform 33">
                <a:extLst>
                  <a:ext uri="{FF2B5EF4-FFF2-40B4-BE49-F238E27FC236}">
                    <a16:creationId xmlns:a16="http://schemas.microsoft.com/office/drawing/2014/main" id="{CACEB424-FCA3-EC85-C79E-05826E3068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000845B7-8A7E-FC4D-8B27-D9636A08DA8E}"/>
                </a:ext>
              </a:extLst>
            </p:cNvPr>
            <p:cNvGrpSpPr/>
            <p:nvPr/>
          </p:nvGrpSpPr>
          <p:grpSpPr>
            <a:xfrm>
              <a:off x="3847129" y="5401216"/>
              <a:ext cx="180000" cy="180000"/>
              <a:chOff x="3875704" y="2241033"/>
              <a:chExt cx="180000" cy="180000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905C0930-5CB8-2BF7-1EBE-834DC17CA65E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46" name="Freeform 33">
                <a:extLst>
                  <a:ext uri="{FF2B5EF4-FFF2-40B4-BE49-F238E27FC236}">
                    <a16:creationId xmlns:a16="http://schemas.microsoft.com/office/drawing/2014/main" id="{9EF5F267-285B-C41D-9785-9365B7792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56AF666-7D5B-4E25-71D1-6F975BC65D2E}"/>
                </a:ext>
              </a:extLst>
            </p:cNvPr>
            <p:cNvGrpSpPr/>
            <p:nvPr/>
          </p:nvGrpSpPr>
          <p:grpSpPr>
            <a:xfrm>
              <a:off x="3847129" y="5683001"/>
              <a:ext cx="180000" cy="180000"/>
              <a:chOff x="3875704" y="2241033"/>
              <a:chExt cx="180000" cy="180000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E71C616A-F2F2-3DBC-DEEF-8BFD08DFE503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49" name="Freeform 33">
                <a:extLst>
                  <a:ext uri="{FF2B5EF4-FFF2-40B4-BE49-F238E27FC236}">
                    <a16:creationId xmlns:a16="http://schemas.microsoft.com/office/drawing/2014/main" id="{141B3A18-1A3C-065D-24C6-5C52079E8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338B418B-775C-551A-6BC2-D46E75C9000B}"/>
                </a:ext>
              </a:extLst>
            </p:cNvPr>
            <p:cNvGrpSpPr/>
            <p:nvPr/>
          </p:nvGrpSpPr>
          <p:grpSpPr>
            <a:xfrm>
              <a:off x="3847129" y="5957518"/>
              <a:ext cx="180000" cy="180000"/>
              <a:chOff x="3875704" y="2241033"/>
              <a:chExt cx="180000" cy="180000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82F39AB4-3763-208D-9B6B-FA6E3BE8B579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52" name="Freeform 33">
                <a:extLst>
                  <a:ext uri="{FF2B5EF4-FFF2-40B4-BE49-F238E27FC236}">
                    <a16:creationId xmlns:a16="http://schemas.microsoft.com/office/drawing/2014/main" id="{7617D420-D452-DB07-480B-3D2398013E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E392267B-4D7C-4F08-CDBB-96746975D9C0}"/>
                </a:ext>
              </a:extLst>
            </p:cNvPr>
            <p:cNvGrpSpPr/>
            <p:nvPr/>
          </p:nvGrpSpPr>
          <p:grpSpPr>
            <a:xfrm>
              <a:off x="5056188" y="2555358"/>
              <a:ext cx="180000" cy="180000"/>
              <a:chOff x="4204188" y="1155438"/>
              <a:chExt cx="180000" cy="180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4554EE45-1654-C6A3-B33A-094158AA6FDC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55" name="Freeform 29">
                <a:extLst>
                  <a:ext uri="{FF2B5EF4-FFF2-40B4-BE49-F238E27FC236}">
                    <a16:creationId xmlns:a16="http://schemas.microsoft.com/office/drawing/2014/main" id="{FAF7A531-93AC-88F6-82B0-118F4739A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881BFF3-37AE-E910-076E-D8DE54080D78}"/>
                </a:ext>
              </a:extLst>
            </p:cNvPr>
            <p:cNvGrpSpPr/>
            <p:nvPr/>
          </p:nvGrpSpPr>
          <p:grpSpPr>
            <a:xfrm>
              <a:off x="5056188" y="2897993"/>
              <a:ext cx="180000" cy="180000"/>
              <a:chOff x="4204188" y="1155438"/>
              <a:chExt cx="180000" cy="180000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E89FCE99-A073-0C6B-4006-3F352B8F0340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0FDECD0A-FEF6-DC00-A772-88D633060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505816E-D729-6C7D-FCF5-880B6EFAEEF6}"/>
                </a:ext>
              </a:extLst>
            </p:cNvPr>
            <p:cNvGrpSpPr/>
            <p:nvPr/>
          </p:nvGrpSpPr>
          <p:grpSpPr>
            <a:xfrm>
              <a:off x="5056188" y="3197806"/>
              <a:ext cx="180000" cy="180000"/>
              <a:chOff x="4204188" y="1155438"/>
              <a:chExt cx="180000" cy="180000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85BD452-9FC1-EF91-AADB-BC0296A87756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61" name="Freeform 29">
                <a:extLst>
                  <a:ext uri="{FF2B5EF4-FFF2-40B4-BE49-F238E27FC236}">
                    <a16:creationId xmlns:a16="http://schemas.microsoft.com/office/drawing/2014/main" id="{FA79FA33-B323-43B8-EEDA-7A7B77AC8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EA263ACA-E19C-4FDF-CE50-9E690C15B5EF}"/>
                </a:ext>
              </a:extLst>
            </p:cNvPr>
            <p:cNvGrpSpPr/>
            <p:nvPr/>
          </p:nvGrpSpPr>
          <p:grpSpPr>
            <a:xfrm>
              <a:off x="5056188" y="3469271"/>
              <a:ext cx="180000" cy="180000"/>
              <a:chOff x="4204188" y="1155438"/>
              <a:chExt cx="180000" cy="18000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08D270DE-EAA5-E4C8-BC20-84835DA7F692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64" name="Freeform 29">
                <a:extLst>
                  <a:ext uri="{FF2B5EF4-FFF2-40B4-BE49-F238E27FC236}">
                    <a16:creationId xmlns:a16="http://schemas.microsoft.com/office/drawing/2014/main" id="{3F886B26-6B42-9D69-124F-690027120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1CD93FC-37A5-C2F8-9FD3-44AC29446F78}"/>
                </a:ext>
              </a:extLst>
            </p:cNvPr>
            <p:cNvGrpSpPr/>
            <p:nvPr/>
          </p:nvGrpSpPr>
          <p:grpSpPr>
            <a:xfrm>
              <a:off x="5056188" y="3748869"/>
              <a:ext cx="180000" cy="180000"/>
              <a:chOff x="3875704" y="2241033"/>
              <a:chExt cx="180000" cy="180000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EBD8F021-D41A-7E42-F6B9-F2558A725A36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67" name="Freeform 33">
                <a:extLst>
                  <a:ext uri="{FF2B5EF4-FFF2-40B4-BE49-F238E27FC236}">
                    <a16:creationId xmlns:a16="http://schemas.microsoft.com/office/drawing/2014/main" id="{8447F84A-8687-FE05-7B63-D5E19B39D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5F72F1CD-0BF6-1ADA-0116-057C57C6996D}"/>
                </a:ext>
              </a:extLst>
            </p:cNvPr>
            <p:cNvGrpSpPr/>
            <p:nvPr/>
          </p:nvGrpSpPr>
          <p:grpSpPr>
            <a:xfrm>
              <a:off x="5056188" y="4036008"/>
              <a:ext cx="180000" cy="180000"/>
              <a:chOff x="3875704" y="2241033"/>
              <a:chExt cx="180000" cy="180000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685C7213-927A-4A45-CB6A-94C5657704DF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73" name="Freeform 33">
                <a:extLst>
                  <a:ext uri="{FF2B5EF4-FFF2-40B4-BE49-F238E27FC236}">
                    <a16:creationId xmlns:a16="http://schemas.microsoft.com/office/drawing/2014/main" id="{897D18F4-D1F6-075D-F81D-80ACE8EFC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5EBDF870-B89B-28E6-5C12-5740588D0E59}"/>
                </a:ext>
              </a:extLst>
            </p:cNvPr>
            <p:cNvGrpSpPr/>
            <p:nvPr/>
          </p:nvGrpSpPr>
          <p:grpSpPr>
            <a:xfrm>
              <a:off x="5056188" y="4310843"/>
              <a:ext cx="180000" cy="180000"/>
              <a:chOff x="4204188" y="1155438"/>
              <a:chExt cx="180000" cy="180000"/>
            </a:xfrm>
          </p:grpSpPr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CEDB309E-BF37-BEF8-FD12-28E8A6C7AD16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76" name="Freeform 29">
                <a:extLst>
                  <a:ext uri="{FF2B5EF4-FFF2-40B4-BE49-F238E27FC236}">
                    <a16:creationId xmlns:a16="http://schemas.microsoft.com/office/drawing/2014/main" id="{DE538AE8-DA11-E11F-DA33-2F589AA06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9E703FF-E0A4-9A55-12B1-A7EFC80B08E2}"/>
                </a:ext>
              </a:extLst>
            </p:cNvPr>
            <p:cNvGrpSpPr/>
            <p:nvPr/>
          </p:nvGrpSpPr>
          <p:grpSpPr>
            <a:xfrm>
              <a:off x="5056188" y="4654479"/>
              <a:ext cx="180000" cy="180000"/>
              <a:chOff x="4204188" y="1155438"/>
              <a:chExt cx="180000" cy="180000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312ACE22-A189-125B-DADA-4B43B4C575FB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79" name="Freeform 29">
                <a:extLst>
                  <a:ext uri="{FF2B5EF4-FFF2-40B4-BE49-F238E27FC236}">
                    <a16:creationId xmlns:a16="http://schemas.microsoft.com/office/drawing/2014/main" id="{343B3AA0-2990-5BAC-5912-37634B109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173140D-7322-309B-7841-2BFA04D83412}"/>
                </a:ext>
              </a:extLst>
            </p:cNvPr>
            <p:cNvGrpSpPr/>
            <p:nvPr/>
          </p:nvGrpSpPr>
          <p:grpSpPr>
            <a:xfrm>
              <a:off x="5056188" y="5059767"/>
              <a:ext cx="180000" cy="180000"/>
              <a:chOff x="3875704" y="2241033"/>
              <a:chExt cx="180000" cy="180000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C04473F-A059-6222-C10A-A3A39A6120D5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2" name="Freeform 33">
                <a:extLst>
                  <a:ext uri="{FF2B5EF4-FFF2-40B4-BE49-F238E27FC236}">
                    <a16:creationId xmlns:a16="http://schemas.microsoft.com/office/drawing/2014/main" id="{6E936FAF-9A9D-77B9-495B-0AEA5D4D9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67CE9AC6-D555-D8FD-B3BE-C88661C655BF}"/>
                </a:ext>
              </a:extLst>
            </p:cNvPr>
            <p:cNvGrpSpPr/>
            <p:nvPr/>
          </p:nvGrpSpPr>
          <p:grpSpPr>
            <a:xfrm>
              <a:off x="5056188" y="5401216"/>
              <a:ext cx="180000" cy="180000"/>
              <a:chOff x="3875704" y="2241033"/>
              <a:chExt cx="180000" cy="180000"/>
            </a:xfrm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B99EDA76-534D-483C-404B-25C504ABF581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5" name="Freeform 33">
                <a:extLst>
                  <a:ext uri="{FF2B5EF4-FFF2-40B4-BE49-F238E27FC236}">
                    <a16:creationId xmlns:a16="http://schemas.microsoft.com/office/drawing/2014/main" id="{23A9B7A2-7EAD-7819-A2B0-09E6FCBE4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8B19A95-EF35-62C8-E338-FB81816D2472}"/>
                </a:ext>
              </a:extLst>
            </p:cNvPr>
            <p:cNvGrpSpPr/>
            <p:nvPr/>
          </p:nvGrpSpPr>
          <p:grpSpPr>
            <a:xfrm>
              <a:off x="5056188" y="5683001"/>
              <a:ext cx="180000" cy="180000"/>
              <a:chOff x="4204188" y="1155438"/>
              <a:chExt cx="180000" cy="180000"/>
            </a:xfrm>
          </p:grpSpPr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15DF47AB-85C3-58E8-8C6C-08F584F141EE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8" name="Freeform 29">
                <a:extLst>
                  <a:ext uri="{FF2B5EF4-FFF2-40B4-BE49-F238E27FC236}">
                    <a16:creationId xmlns:a16="http://schemas.microsoft.com/office/drawing/2014/main" id="{6EE3246F-3A05-EF78-62D9-1B37D5889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562CB38D-8929-3D8E-D73B-7961F081FF91}"/>
                </a:ext>
              </a:extLst>
            </p:cNvPr>
            <p:cNvGrpSpPr/>
            <p:nvPr/>
          </p:nvGrpSpPr>
          <p:grpSpPr>
            <a:xfrm>
              <a:off x="5056188" y="5957691"/>
              <a:ext cx="180000" cy="180000"/>
              <a:chOff x="4204188" y="1155438"/>
              <a:chExt cx="180000" cy="180000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CD2A4C6-EC05-48A6-7CC0-92A64B0EBBA9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91" name="Freeform 29">
                <a:extLst>
                  <a:ext uri="{FF2B5EF4-FFF2-40B4-BE49-F238E27FC236}">
                    <a16:creationId xmlns:a16="http://schemas.microsoft.com/office/drawing/2014/main" id="{ABB08E70-B49F-31C8-BA8A-9C2412CFB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33153B87-AEFC-E6C8-2326-0ED4D8C16944}"/>
                </a:ext>
              </a:extLst>
            </p:cNvPr>
            <p:cNvGrpSpPr/>
            <p:nvPr/>
          </p:nvGrpSpPr>
          <p:grpSpPr>
            <a:xfrm>
              <a:off x="6216650" y="2225868"/>
              <a:ext cx="180000" cy="180000"/>
              <a:chOff x="4204188" y="1155438"/>
              <a:chExt cx="180000" cy="180000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3C45C24-9663-7D5B-3588-79631ECB735F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94" name="Freeform 29">
                <a:extLst>
                  <a:ext uri="{FF2B5EF4-FFF2-40B4-BE49-F238E27FC236}">
                    <a16:creationId xmlns:a16="http://schemas.microsoft.com/office/drawing/2014/main" id="{9A48ABED-4F53-28D7-4F1E-568DD1A75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C06C9E79-7ED6-ACEA-02EA-77A347A374DD}"/>
                </a:ext>
              </a:extLst>
            </p:cNvPr>
            <p:cNvGrpSpPr/>
            <p:nvPr/>
          </p:nvGrpSpPr>
          <p:grpSpPr>
            <a:xfrm>
              <a:off x="6216650" y="2555358"/>
              <a:ext cx="180000" cy="180000"/>
              <a:chOff x="4204188" y="1155438"/>
              <a:chExt cx="180000" cy="180000"/>
            </a:xfrm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13419120-93DD-F0F5-3BA0-27C27B7715AB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97" name="Freeform 29">
                <a:extLst>
                  <a:ext uri="{FF2B5EF4-FFF2-40B4-BE49-F238E27FC236}">
                    <a16:creationId xmlns:a16="http://schemas.microsoft.com/office/drawing/2014/main" id="{42E138C6-B37D-200A-01DD-E208507C0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CFB0C9FB-8B5E-F789-2EA8-6CD03A4BD89F}"/>
                </a:ext>
              </a:extLst>
            </p:cNvPr>
            <p:cNvGrpSpPr/>
            <p:nvPr/>
          </p:nvGrpSpPr>
          <p:grpSpPr>
            <a:xfrm>
              <a:off x="6216650" y="2902534"/>
              <a:ext cx="180000" cy="180000"/>
              <a:chOff x="3875704" y="2241033"/>
              <a:chExt cx="180000" cy="180000"/>
            </a:xfrm>
          </p:grpSpPr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006B1395-CB41-F913-C7A8-D940A43F9CF8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00" name="Freeform 33">
                <a:extLst>
                  <a:ext uri="{FF2B5EF4-FFF2-40B4-BE49-F238E27FC236}">
                    <a16:creationId xmlns:a16="http://schemas.microsoft.com/office/drawing/2014/main" id="{F3EBAA03-5ED0-7917-6749-EAE63BF31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DF3EB6A9-7452-E06E-8F9B-F147AB5C22E2}"/>
                </a:ext>
              </a:extLst>
            </p:cNvPr>
            <p:cNvGrpSpPr/>
            <p:nvPr/>
          </p:nvGrpSpPr>
          <p:grpSpPr>
            <a:xfrm>
              <a:off x="6216650" y="3197806"/>
              <a:ext cx="180000" cy="180000"/>
              <a:chOff x="4204188" y="1155438"/>
              <a:chExt cx="180000" cy="180000"/>
            </a:xfrm>
          </p:grpSpPr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20F9B2B7-1E42-AD05-0C6E-D6B19CAC1CF8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03" name="Freeform 29">
                <a:extLst>
                  <a:ext uri="{FF2B5EF4-FFF2-40B4-BE49-F238E27FC236}">
                    <a16:creationId xmlns:a16="http://schemas.microsoft.com/office/drawing/2014/main" id="{9E5E702C-23B1-1809-D0B9-6F59512A7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35088B76-CE3B-6CC4-A5B6-0766807AD3AD}"/>
                </a:ext>
              </a:extLst>
            </p:cNvPr>
            <p:cNvGrpSpPr/>
            <p:nvPr/>
          </p:nvGrpSpPr>
          <p:grpSpPr>
            <a:xfrm>
              <a:off x="6216650" y="3469271"/>
              <a:ext cx="180000" cy="180000"/>
              <a:chOff x="4204188" y="1155438"/>
              <a:chExt cx="180000" cy="180000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C4B1BBA6-EDAC-08E7-4907-7E911B5E1215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06" name="Freeform 29">
                <a:extLst>
                  <a:ext uri="{FF2B5EF4-FFF2-40B4-BE49-F238E27FC236}">
                    <a16:creationId xmlns:a16="http://schemas.microsoft.com/office/drawing/2014/main" id="{D86DFEE9-1F3A-C815-8FAF-4EFD3C361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70FABE24-D8D7-21E5-2ACC-1B29A0DBC87F}"/>
                </a:ext>
              </a:extLst>
            </p:cNvPr>
            <p:cNvGrpSpPr/>
            <p:nvPr/>
          </p:nvGrpSpPr>
          <p:grpSpPr>
            <a:xfrm>
              <a:off x="6216650" y="3748869"/>
              <a:ext cx="180000" cy="180000"/>
              <a:chOff x="3875704" y="2241033"/>
              <a:chExt cx="180000" cy="180000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700DA48-F6F9-6C8B-32B4-4A7F2464CD04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09" name="Freeform 33">
                <a:extLst>
                  <a:ext uri="{FF2B5EF4-FFF2-40B4-BE49-F238E27FC236}">
                    <a16:creationId xmlns:a16="http://schemas.microsoft.com/office/drawing/2014/main" id="{6C17C736-DB44-DC8C-164F-08EF6A85C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3F63BBCE-3807-8A1C-22D7-8211D8B599B8}"/>
                </a:ext>
              </a:extLst>
            </p:cNvPr>
            <p:cNvGrpSpPr/>
            <p:nvPr/>
          </p:nvGrpSpPr>
          <p:grpSpPr>
            <a:xfrm>
              <a:off x="6216650" y="4036008"/>
              <a:ext cx="180000" cy="180000"/>
              <a:chOff x="3875704" y="2241033"/>
              <a:chExt cx="180000" cy="180000"/>
            </a:xfrm>
          </p:grpSpPr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8F60D59C-6B40-636A-DA30-2377FCB0FDF0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2" name="Freeform 33">
                <a:extLst>
                  <a:ext uri="{FF2B5EF4-FFF2-40B4-BE49-F238E27FC236}">
                    <a16:creationId xmlns:a16="http://schemas.microsoft.com/office/drawing/2014/main" id="{FAB20CBC-FCAF-E64E-CCAD-766195125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EF05F4C2-5235-2A5E-4A2D-C368A34AA2AE}"/>
                </a:ext>
              </a:extLst>
            </p:cNvPr>
            <p:cNvGrpSpPr/>
            <p:nvPr/>
          </p:nvGrpSpPr>
          <p:grpSpPr>
            <a:xfrm>
              <a:off x="6216650" y="4310843"/>
              <a:ext cx="180000" cy="180000"/>
              <a:chOff x="3875704" y="2241033"/>
              <a:chExt cx="180000" cy="180000"/>
            </a:xfrm>
          </p:grpSpPr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42074048-AAE7-AEFE-B591-4C52C76D5F83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" name="Freeform 33">
                <a:extLst>
                  <a:ext uri="{FF2B5EF4-FFF2-40B4-BE49-F238E27FC236}">
                    <a16:creationId xmlns:a16="http://schemas.microsoft.com/office/drawing/2014/main" id="{3FEBEF35-E29B-EC88-E0D6-DF31B5308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BAC95739-6C41-91AF-5B02-40990F8AE6E4}"/>
                </a:ext>
              </a:extLst>
            </p:cNvPr>
            <p:cNvGrpSpPr/>
            <p:nvPr/>
          </p:nvGrpSpPr>
          <p:grpSpPr>
            <a:xfrm>
              <a:off x="6216650" y="4654479"/>
              <a:ext cx="180000" cy="180000"/>
              <a:chOff x="3875704" y="2241033"/>
              <a:chExt cx="180000" cy="180000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49EFAA02-6355-86B6-AA49-B0292A159EEC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8" name="Freeform 33">
                <a:extLst>
                  <a:ext uri="{FF2B5EF4-FFF2-40B4-BE49-F238E27FC236}">
                    <a16:creationId xmlns:a16="http://schemas.microsoft.com/office/drawing/2014/main" id="{CBF12A3E-871C-D3E6-5F92-66889DA74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7B3A9506-82B8-9C8A-ACC2-F8064A2C563E}"/>
                </a:ext>
              </a:extLst>
            </p:cNvPr>
            <p:cNvGrpSpPr/>
            <p:nvPr/>
          </p:nvGrpSpPr>
          <p:grpSpPr>
            <a:xfrm>
              <a:off x="6216650" y="5059767"/>
              <a:ext cx="180000" cy="180000"/>
              <a:chOff x="3875704" y="2241033"/>
              <a:chExt cx="180000" cy="180000"/>
            </a:xfrm>
          </p:grpSpPr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940B90C1-E5EF-5D1C-9CD7-1436B4A50B95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21" name="Freeform 33">
                <a:extLst>
                  <a:ext uri="{FF2B5EF4-FFF2-40B4-BE49-F238E27FC236}">
                    <a16:creationId xmlns:a16="http://schemas.microsoft.com/office/drawing/2014/main" id="{EA12A0FF-F6D4-A228-4338-0A63D529F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648B494-364D-BD8F-AF0C-7379735DEA27}"/>
                </a:ext>
              </a:extLst>
            </p:cNvPr>
            <p:cNvGrpSpPr/>
            <p:nvPr/>
          </p:nvGrpSpPr>
          <p:grpSpPr>
            <a:xfrm>
              <a:off x="6216650" y="5683001"/>
              <a:ext cx="180000" cy="180000"/>
              <a:chOff x="4204188" y="1155438"/>
              <a:chExt cx="180000" cy="180000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4D2D5A0B-8F4D-3DE2-6101-169CD63BF30A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24" name="Freeform 29">
                <a:extLst>
                  <a:ext uri="{FF2B5EF4-FFF2-40B4-BE49-F238E27FC236}">
                    <a16:creationId xmlns:a16="http://schemas.microsoft.com/office/drawing/2014/main" id="{F47E2C70-5576-6E5E-869F-5034ECD8D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DEAEF54C-60E1-CD17-152C-AFDA214D64A5}"/>
                </a:ext>
              </a:extLst>
            </p:cNvPr>
            <p:cNvGrpSpPr/>
            <p:nvPr/>
          </p:nvGrpSpPr>
          <p:grpSpPr>
            <a:xfrm>
              <a:off x="6216650" y="5957691"/>
              <a:ext cx="180000" cy="180000"/>
              <a:chOff x="4204188" y="1155438"/>
              <a:chExt cx="180000" cy="180000"/>
            </a:xfrm>
          </p:grpSpPr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856C46AC-77AC-3921-ECBB-39DD171D0E6E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27" name="Freeform 29">
                <a:extLst>
                  <a:ext uri="{FF2B5EF4-FFF2-40B4-BE49-F238E27FC236}">
                    <a16:creationId xmlns:a16="http://schemas.microsoft.com/office/drawing/2014/main" id="{0F7C6403-73B0-1CF3-F5DE-F14E5F87F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CDED56F6-2094-7BD2-53C0-6578E32284FD}"/>
                </a:ext>
              </a:extLst>
            </p:cNvPr>
            <p:cNvGrpSpPr/>
            <p:nvPr/>
          </p:nvGrpSpPr>
          <p:grpSpPr>
            <a:xfrm>
              <a:off x="6216650" y="5401216"/>
              <a:ext cx="180000" cy="180000"/>
              <a:chOff x="4204188" y="1155438"/>
              <a:chExt cx="180000" cy="180000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10FDED41-4A76-D67E-689C-E06073DD4F18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30" name="Freeform 29">
                <a:extLst>
                  <a:ext uri="{FF2B5EF4-FFF2-40B4-BE49-F238E27FC236}">
                    <a16:creationId xmlns:a16="http://schemas.microsoft.com/office/drawing/2014/main" id="{615D58AD-D0C9-74E1-9E29-8BF2E7B47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3B91266-8A7B-8C5B-5AA2-412BC45CCA84}"/>
                </a:ext>
              </a:extLst>
            </p:cNvPr>
            <p:cNvGrpSpPr/>
            <p:nvPr/>
          </p:nvGrpSpPr>
          <p:grpSpPr>
            <a:xfrm>
              <a:off x="7394975" y="2231508"/>
              <a:ext cx="180000" cy="180000"/>
              <a:chOff x="3875704" y="2241033"/>
              <a:chExt cx="180000" cy="180000"/>
            </a:xfrm>
          </p:grpSpPr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4CE779A8-992A-12CC-A13D-E509990F454E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33" name="Freeform 33">
                <a:extLst>
                  <a:ext uri="{FF2B5EF4-FFF2-40B4-BE49-F238E27FC236}">
                    <a16:creationId xmlns:a16="http://schemas.microsoft.com/office/drawing/2014/main" id="{483260A5-B2B1-609D-CEFC-BA3E5DA7D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D1B5F69C-A1CB-0D2D-AA75-478B82A50AFD}"/>
                </a:ext>
              </a:extLst>
            </p:cNvPr>
            <p:cNvGrpSpPr/>
            <p:nvPr/>
          </p:nvGrpSpPr>
          <p:grpSpPr>
            <a:xfrm>
              <a:off x="7394975" y="2555358"/>
              <a:ext cx="180000" cy="180000"/>
              <a:chOff x="4204188" y="1155438"/>
              <a:chExt cx="180000" cy="18000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436AA87D-0BEF-82F3-8B6B-A7D1C11D69BD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36" name="Freeform 29">
                <a:extLst>
                  <a:ext uri="{FF2B5EF4-FFF2-40B4-BE49-F238E27FC236}">
                    <a16:creationId xmlns:a16="http://schemas.microsoft.com/office/drawing/2014/main" id="{25CAA6E7-D36C-DCE1-E4A0-39461F344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7745FDB2-9A04-36BC-4FE2-31481640026F}"/>
                </a:ext>
              </a:extLst>
            </p:cNvPr>
            <p:cNvGrpSpPr/>
            <p:nvPr/>
          </p:nvGrpSpPr>
          <p:grpSpPr>
            <a:xfrm>
              <a:off x="7394975" y="2897993"/>
              <a:ext cx="180000" cy="180000"/>
              <a:chOff x="4204188" y="1155438"/>
              <a:chExt cx="180000" cy="180000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E8659EF6-CE40-CE3C-004B-9067CC7AC5FD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39" name="Freeform 29">
                <a:extLst>
                  <a:ext uri="{FF2B5EF4-FFF2-40B4-BE49-F238E27FC236}">
                    <a16:creationId xmlns:a16="http://schemas.microsoft.com/office/drawing/2014/main" id="{C4275A8C-DF23-3523-DB4D-0FFB61AD8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134D998F-E18C-4733-8299-A1178D701A8F}"/>
                </a:ext>
              </a:extLst>
            </p:cNvPr>
            <p:cNvGrpSpPr/>
            <p:nvPr/>
          </p:nvGrpSpPr>
          <p:grpSpPr>
            <a:xfrm>
              <a:off x="7394975" y="3197806"/>
              <a:ext cx="180000" cy="180000"/>
              <a:chOff x="3875704" y="2241033"/>
              <a:chExt cx="180000" cy="180000"/>
            </a:xfrm>
          </p:grpSpPr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D564E36E-A3B5-12EF-3D08-B0FE905B966F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42" name="Freeform 33">
                <a:extLst>
                  <a:ext uri="{FF2B5EF4-FFF2-40B4-BE49-F238E27FC236}">
                    <a16:creationId xmlns:a16="http://schemas.microsoft.com/office/drawing/2014/main" id="{6565248D-C87E-D433-7D20-AAD3B73EB8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638E3A6B-5A96-B141-D72E-00A6AF3A30F3}"/>
                </a:ext>
              </a:extLst>
            </p:cNvPr>
            <p:cNvGrpSpPr/>
            <p:nvPr/>
          </p:nvGrpSpPr>
          <p:grpSpPr>
            <a:xfrm>
              <a:off x="7394975" y="3469271"/>
              <a:ext cx="180000" cy="180000"/>
              <a:chOff x="3875704" y="2241033"/>
              <a:chExt cx="180000" cy="180000"/>
            </a:xfrm>
          </p:grpSpPr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DA445542-771A-5A93-6638-14A37294B7CF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45" name="Freeform 33">
                <a:extLst>
                  <a:ext uri="{FF2B5EF4-FFF2-40B4-BE49-F238E27FC236}">
                    <a16:creationId xmlns:a16="http://schemas.microsoft.com/office/drawing/2014/main" id="{CFCBE24D-2850-2F49-E58D-A948E0901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98C6E232-2AF2-1E65-18F4-6DFAE37922CC}"/>
                </a:ext>
              </a:extLst>
            </p:cNvPr>
            <p:cNvGrpSpPr/>
            <p:nvPr/>
          </p:nvGrpSpPr>
          <p:grpSpPr>
            <a:xfrm>
              <a:off x="7394975" y="3748869"/>
              <a:ext cx="180000" cy="180000"/>
              <a:chOff x="3875704" y="2241033"/>
              <a:chExt cx="180000" cy="18000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ECCF3EFA-23AF-6169-048F-302F9F155B79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48" name="Freeform 33">
                <a:extLst>
                  <a:ext uri="{FF2B5EF4-FFF2-40B4-BE49-F238E27FC236}">
                    <a16:creationId xmlns:a16="http://schemas.microsoft.com/office/drawing/2014/main" id="{4F995E18-F492-F6AA-8FBB-B87337D46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AA443483-CD27-D72E-2B0D-D8EBC0621E24}"/>
                </a:ext>
              </a:extLst>
            </p:cNvPr>
            <p:cNvGrpSpPr/>
            <p:nvPr/>
          </p:nvGrpSpPr>
          <p:grpSpPr>
            <a:xfrm>
              <a:off x="7394975" y="4036008"/>
              <a:ext cx="180000" cy="180000"/>
              <a:chOff x="3875704" y="2241033"/>
              <a:chExt cx="180000" cy="180000"/>
            </a:xfrm>
          </p:grpSpPr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C3861E07-D5ED-C618-278C-21A957CBE54D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51" name="Freeform 33">
                <a:extLst>
                  <a:ext uri="{FF2B5EF4-FFF2-40B4-BE49-F238E27FC236}">
                    <a16:creationId xmlns:a16="http://schemas.microsoft.com/office/drawing/2014/main" id="{292C1BD5-BE67-497C-D043-57F66A0C9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E0CCFDBB-A6F4-1671-19EF-DA7886E0C434}"/>
                </a:ext>
              </a:extLst>
            </p:cNvPr>
            <p:cNvGrpSpPr/>
            <p:nvPr/>
          </p:nvGrpSpPr>
          <p:grpSpPr>
            <a:xfrm>
              <a:off x="7394975" y="4310843"/>
              <a:ext cx="180000" cy="180000"/>
              <a:chOff x="3875704" y="2241033"/>
              <a:chExt cx="180000" cy="180000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023A52DF-DE21-7D1C-1F4D-5D07A35EFF4D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54" name="Freeform 33">
                <a:extLst>
                  <a:ext uri="{FF2B5EF4-FFF2-40B4-BE49-F238E27FC236}">
                    <a16:creationId xmlns:a16="http://schemas.microsoft.com/office/drawing/2014/main" id="{99DFC47A-0C91-91E8-59C5-0B6BE849D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568D6D9B-6383-860D-D451-0CA0A1F7D27C}"/>
                </a:ext>
              </a:extLst>
            </p:cNvPr>
            <p:cNvGrpSpPr/>
            <p:nvPr/>
          </p:nvGrpSpPr>
          <p:grpSpPr>
            <a:xfrm>
              <a:off x="7394975" y="4654479"/>
              <a:ext cx="180000" cy="180000"/>
              <a:chOff x="3875704" y="2241033"/>
              <a:chExt cx="180000" cy="180000"/>
            </a:xfrm>
          </p:grpSpPr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4E448C41-236E-4883-9678-0CAD9395C4D8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57" name="Freeform 33">
                <a:extLst>
                  <a:ext uri="{FF2B5EF4-FFF2-40B4-BE49-F238E27FC236}">
                    <a16:creationId xmlns:a16="http://schemas.microsoft.com/office/drawing/2014/main" id="{A8ABB67D-674A-27E6-9989-BA3763F81F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ACEED685-687C-7C29-A967-238EB22B789B}"/>
                </a:ext>
              </a:extLst>
            </p:cNvPr>
            <p:cNvGrpSpPr/>
            <p:nvPr/>
          </p:nvGrpSpPr>
          <p:grpSpPr>
            <a:xfrm>
              <a:off x="7394975" y="5059767"/>
              <a:ext cx="180000" cy="180000"/>
              <a:chOff x="3875704" y="2241033"/>
              <a:chExt cx="180000" cy="180000"/>
            </a:xfrm>
          </p:grpSpPr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18DD5E13-EC3E-FC5A-C83F-1D217C8ADCFC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60" name="Freeform 33">
                <a:extLst>
                  <a:ext uri="{FF2B5EF4-FFF2-40B4-BE49-F238E27FC236}">
                    <a16:creationId xmlns:a16="http://schemas.microsoft.com/office/drawing/2014/main" id="{153668ED-9EB1-FEFC-8093-967D582B2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6094CB99-2EAB-41C9-0519-6F4DB2C2546A}"/>
                </a:ext>
              </a:extLst>
            </p:cNvPr>
            <p:cNvGrpSpPr/>
            <p:nvPr/>
          </p:nvGrpSpPr>
          <p:grpSpPr>
            <a:xfrm>
              <a:off x="7394975" y="5683001"/>
              <a:ext cx="180000" cy="180000"/>
              <a:chOff x="4204188" y="1155438"/>
              <a:chExt cx="180000" cy="180000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F860527A-2B84-C7BC-D2C8-99F17B516A19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63" name="Freeform 29">
                <a:extLst>
                  <a:ext uri="{FF2B5EF4-FFF2-40B4-BE49-F238E27FC236}">
                    <a16:creationId xmlns:a16="http://schemas.microsoft.com/office/drawing/2014/main" id="{473C739F-3A4C-E206-ECD0-989E6E822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2DD64CF1-8785-0ED5-E34B-76B3DC2D66BC}"/>
                </a:ext>
              </a:extLst>
            </p:cNvPr>
            <p:cNvGrpSpPr/>
            <p:nvPr/>
          </p:nvGrpSpPr>
          <p:grpSpPr>
            <a:xfrm>
              <a:off x="7394975" y="5957691"/>
              <a:ext cx="180000" cy="180000"/>
              <a:chOff x="4204188" y="1155438"/>
              <a:chExt cx="180000" cy="180000"/>
            </a:xfrm>
          </p:grpSpPr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A44532E5-5DFC-F0EA-54A3-EEE1E1887C4F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66" name="Freeform 29">
                <a:extLst>
                  <a:ext uri="{FF2B5EF4-FFF2-40B4-BE49-F238E27FC236}">
                    <a16:creationId xmlns:a16="http://schemas.microsoft.com/office/drawing/2014/main" id="{F3F2D544-49C7-6D2A-4178-1B4010DE4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1B152160-C7DD-487D-327A-F2A40EAE5984}"/>
                </a:ext>
              </a:extLst>
            </p:cNvPr>
            <p:cNvGrpSpPr/>
            <p:nvPr/>
          </p:nvGrpSpPr>
          <p:grpSpPr>
            <a:xfrm>
              <a:off x="8573300" y="2225868"/>
              <a:ext cx="180000" cy="180000"/>
              <a:chOff x="4204188" y="1155438"/>
              <a:chExt cx="180000" cy="180000"/>
            </a:xfrm>
          </p:grpSpPr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C23A9817-9843-74D1-39C6-EA2C8C7F9958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69" name="Freeform 29">
                <a:extLst>
                  <a:ext uri="{FF2B5EF4-FFF2-40B4-BE49-F238E27FC236}">
                    <a16:creationId xmlns:a16="http://schemas.microsoft.com/office/drawing/2014/main" id="{2B372DCC-40E9-954E-F596-EEEF2B70C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AC35C934-217A-DB0A-7B8E-B101AC048743}"/>
                </a:ext>
              </a:extLst>
            </p:cNvPr>
            <p:cNvGrpSpPr/>
            <p:nvPr/>
          </p:nvGrpSpPr>
          <p:grpSpPr>
            <a:xfrm>
              <a:off x="8573300" y="2555358"/>
              <a:ext cx="180000" cy="180000"/>
              <a:chOff x="4204188" y="1155438"/>
              <a:chExt cx="180000" cy="180000"/>
            </a:xfrm>
          </p:grpSpPr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C9F1769E-A7CD-1898-6FCD-8383090B8BB8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72" name="Freeform 29">
                <a:extLst>
                  <a:ext uri="{FF2B5EF4-FFF2-40B4-BE49-F238E27FC236}">
                    <a16:creationId xmlns:a16="http://schemas.microsoft.com/office/drawing/2014/main" id="{2091C34C-2103-5030-83C1-8290E3DD4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3E5FAD85-29AC-8541-3932-27C6D6EE2352}"/>
                </a:ext>
              </a:extLst>
            </p:cNvPr>
            <p:cNvGrpSpPr/>
            <p:nvPr/>
          </p:nvGrpSpPr>
          <p:grpSpPr>
            <a:xfrm>
              <a:off x="8573300" y="2897993"/>
              <a:ext cx="180000" cy="180000"/>
              <a:chOff x="4204188" y="1155438"/>
              <a:chExt cx="180000" cy="180000"/>
            </a:xfrm>
          </p:grpSpPr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3BC2776-17B9-BE0E-723B-6D0D64321CD4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75" name="Freeform 29">
                <a:extLst>
                  <a:ext uri="{FF2B5EF4-FFF2-40B4-BE49-F238E27FC236}">
                    <a16:creationId xmlns:a16="http://schemas.microsoft.com/office/drawing/2014/main" id="{6D3430EC-1709-A90E-816C-3A0F8791F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F5369961-3734-23EC-E4F8-D3E176A6AA03}"/>
                </a:ext>
              </a:extLst>
            </p:cNvPr>
            <p:cNvGrpSpPr/>
            <p:nvPr/>
          </p:nvGrpSpPr>
          <p:grpSpPr>
            <a:xfrm>
              <a:off x="8573300" y="3197806"/>
              <a:ext cx="180000" cy="180000"/>
              <a:chOff x="4204188" y="1155438"/>
              <a:chExt cx="180000" cy="180000"/>
            </a:xfrm>
          </p:grpSpPr>
          <p:sp>
            <p:nvSpPr>
              <p:cNvPr id="177" name="Rectangle 176">
                <a:extLst>
                  <a:ext uri="{FF2B5EF4-FFF2-40B4-BE49-F238E27FC236}">
                    <a16:creationId xmlns:a16="http://schemas.microsoft.com/office/drawing/2014/main" id="{783942FB-6B19-D27C-FCAF-7030BB0F6072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78" name="Freeform 29">
                <a:extLst>
                  <a:ext uri="{FF2B5EF4-FFF2-40B4-BE49-F238E27FC236}">
                    <a16:creationId xmlns:a16="http://schemas.microsoft.com/office/drawing/2014/main" id="{C9A53210-DE88-1B7D-DA4A-73CB2DC2B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9D7C63CA-D38F-8A23-861F-0D2B343CFDE2}"/>
                </a:ext>
              </a:extLst>
            </p:cNvPr>
            <p:cNvGrpSpPr/>
            <p:nvPr/>
          </p:nvGrpSpPr>
          <p:grpSpPr>
            <a:xfrm>
              <a:off x="8573300" y="3469271"/>
              <a:ext cx="180000" cy="180000"/>
              <a:chOff x="3875704" y="2241033"/>
              <a:chExt cx="180000" cy="180000"/>
            </a:xfrm>
          </p:grpSpPr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136C2CC7-1FA6-66AF-8197-5CAD92276435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81" name="Freeform 33">
                <a:extLst>
                  <a:ext uri="{FF2B5EF4-FFF2-40B4-BE49-F238E27FC236}">
                    <a16:creationId xmlns:a16="http://schemas.microsoft.com/office/drawing/2014/main" id="{64612EC5-0F66-EB8F-EED7-3665D4C51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ABD6D0E4-A8B9-7D3F-AEB4-0CE8D120DF82}"/>
                </a:ext>
              </a:extLst>
            </p:cNvPr>
            <p:cNvGrpSpPr/>
            <p:nvPr/>
          </p:nvGrpSpPr>
          <p:grpSpPr>
            <a:xfrm>
              <a:off x="8573300" y="3748869"/>
              <a:ext cx="180000" cy="180000"/>
              <a:chOff x="3875704" y="2241033"/>
              <a:chExt cx="180000" cy="180000"/>
            </a:xfrm>
          </p:grpSpPr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82936E58-705F-B988-A65C-D8AABB059BBE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84" name="Freeform 33">
                <a:extLst>
                  <a:ext uri="{FF2B5EF4-FFF2-40B4-BE49-F238E27FC236}">
                    <a16:creationId xmlns:a16="http://schemas.microsoft.com/office/drawing/2014/main" id="{B98D4C27-B667-EDE0-5DDA-E7578A5C8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999589D7-B8AB-259F-19D1-0CAB3D2E2AE3}"/>
                </a:ext>
              </a:extLst>
            </p:cNvPr>
            <p:cNvGrpSpPr/>
            <p:nvPr/>
          </p:nvGrpSpPr>
          <p:grpSpPr>
            <a:xfrm>
              <a:off x="8573300" y="4036008"/>
              <a:ext cx="180000" cy="180000"/>
              <a:chOff x="3875704" y="2241033"/>
              <a:chExt cx="180000" cy="180000"/>
            </a:xfrm>
          </p:grpSpPr>
          <p:sp>
            <p:nvSpPr>
              <p:cNvPr id="186" name="Rectangle 185">
                <a:extLst>
                  <a:ext uri="{FF2B5EF4-FFF2-40B4-BE49-F238E27FC236}">
                    <a16:creationId xmlns:a16="http://schemas.microsoft.com/office/drawing/2014/main" id="{1391A40D-554E-964A-1C45-D2E75CD6470F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87" name="Freeform 33">
                <a:extLst>
                  <a:ext uri="{FF2B5EF4-FFF2-40B4-BE49-F238E27FC236}">
                    <a16:creationId xmlns:a16="http://schemas.microsoft.com/office/drawing/2014/main" id="{A51C4081-C5B8-1F55-58EF-900FC58A3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C8377AEF-B2CF-C7BC-0814-33CC0BB0753A}"/>
                </a:ext>
              </a:extLst>
            </p:cNvPr>
            <p:cNvGrpSpPr/>
            <p:nvPr/>
          </p:nvGrpSpPr>
          <p:grpSpPr>
            <a:xfrm>
              <a:off x="8573300" y="4310843"/>
              <a:ext cx="180000" cy="180000"/>
              <a:chOff x="3875704" y="2241033"/>
              <a:chExt cx="180000" cy="180000"/>
            </a:xfrm>
          </p:grpSpPr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061F41BC-8AF9-80B9-CC01-6826C5010655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90" name="Freeform 33">
                <a:extLst>
                  <a:ext uri="{FF2B5EF4-FFF2-40B4-BE49-F238E27FC236}">
                    <a16:creationId xmlns:a16="http://schemas.microsoft.com/office/drawing/2014/main" id="{CD936549-67E1-4A29-8E2E-E39F189FE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0E36AD39-FE71-201C-0AA3-029B9ED8C5A0}"/>
                </a:ext>
              </a:extLst>
            </p:cNvPr>
            <p:cNvGrpSpPr/>
            <p:nvPr/>
          </p:nvGrpSpPr>
          <p:grpSpPr>
            <a:xfrm>
              <a:off x="8573300" y="4654479"/>
              <a:ext cx="180000" cy="180000"/>
              <a:chOff x="3875704" y="2241033"/>
              <a:chExt cx="180000" cy="180000"/>
            </a:xfrm>
          </p:grpSpPr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BFA72D00-4D18-4ED6-51AC-6FF6DE6AF7E3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93" name="Freeform 33">
                <a:extLst>
                  <a:ext uri="{FF2B5EF4-FFF2-40B4-BE49-F238E27FC236}">
                    <a16:creationId xmlns:a16="http://schemas.microsoft.com/office/drawing/2014/main" id="{61156C05-F075-F6F5-C322-39ECEA0E9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A1B80E0A-150F-E460-89F9-7D4173C12E03}"/>
                </a:ext>
              </a:extLst>
            </p:cNvPr>
            <p:cNvGrpSpPr/>
            <p:nvPr/>
          </p:nvGrpSpPr>
          <p:grpSpPr>
            <a:xfrm>
              <a:off x="8573300" y="5059767"/>
              <a:ext cx="180000" cy="180000"/>
              <a:chOff x="3875704" y="2241033"/>
              <a:chExt cx="180000" cy="180000"/>
            </a:xfrm>
          </p:grpSpPr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FA571A74-02BB-9628-BB2E-BC0EAC497382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96" name="Freeform 33">
                <a:extLst>
                  <a:ext uri="{FF2B5EF4-FFF2-40B4-BE49-F238E27FC236}">
                    <a16:creationId xmlns:a16="http://schemas.microsoft.com/office/drawing/2014/main" id="{6B093D78-0A9D-FE60-47F3-E52809BB1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5F0201AF-0291-2986-195E-680D2FEB1927}"/>
                </a:ext>
              </a:extLst>
            </p:cNvPr>
            <p:cNvGrpSpPr/>
            <p:nvPr/>
          </p:nvGrpSpPr>
          <p:grpSpPr>
            <a:xfrm>
              <a:off x="8573300" y="5683001"/>
              <a:ext cx="180000" cy="180000"/>
              <a:chOff x="4204188" y="1155438"/>
              <a:chExt cx="180000" cy="180000"/>
            </a:xfrm>
          </p:grpSpPr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C06B2B53-6CFD-36AC-6326-BEA5DE50E1E6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99" name="Freeform 29">
                <a:extLst>
                  <a:ext uri="{FF2B5EF4-FFF2-40B4-BE49-F238E27FC236}">
                    <a16:creationId xmlns:a16="http://schemas.microsoft.com/office/drawing/2014/main" id="{42009C3A-FB1D-583C-2CF9-834406D38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16F9CA73-6F3D-105C-3266-A435034343CB}"/>
                </a:ext>
              </a:extLst>
            </p:cNvPr>
            <p:cNvGrpSpPr/>
            <p:nvPr/>
          </p:nvGrpSpPr>
          <p:grpSpPr>
            <a:xfrm>
              <a:off x="8573300" y="5957691"/>
              <a:ext cx="180000" cy="180000"/>
              <a:chOff x="4204188" y="1155438"/>
              <a:chExt cx="180000" cy="180000"/>
            </a:xfrm>
          </p:grpSpPr>
          <p:sp>
            <p:nvSpPr>
              <p:cNvPr id="201" name="Rectangle 200">
                <a:extLst>
                  <a:ext uri="{FF2B5EF4-FFF2-40B4-BE49-F238E27FC236}">
                    <a16:creationId xmlns:a16="http://schemas.microsoft.com/office/drawing/2014/main" id="{F3ABE872-A6D1-F502-334A-6B609EBC3CDC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02" name="Freeform 29">
                <a:extLst>
                  <a:ext uri="{FF2B5EF4-FFF2-40B4-BE49-F238E27FC236}">
                    <a16:creationId xmlns:a16="http://schemas.microsoft.com/office/drawing/2014/main" id="{B0CE0B51-039B-B6CA-D7DA-A1CA741E1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DE094789-3F1A-1CA9-7739-B5CD14305C4B}"/>
                </a:ext>
              </a:extLst>
            </p:cNvPr>
            <p:cNvGrpSpPr/>
            <p:nvPr/>
          </p:nvGrpSpPr>
          <p:grpSpPr>
            <a:xfrm>
              <a:off x="8573300" y="5401216"/>
              <a:ext cx="180000" cy="180000"/>
              <a:chOff x="4204188" y="1155438"/>
              <a:chExt cx="180000" cy="180000"/>
            </a:xfrm>
          </p:grpSpPr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id="{3D42DCDE-60CB-FBFB-A9E5-774A87A89D3E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05" name="Freeform 29">
                <a:extLst>
                  <a:ext uri="{FF2B5EF4-FFF2-40B4-BE49-F238E27FC236}">
                    <a16:creationId xmlns:a16="http://schemas.microsoft.com/office/drawing/2014/main" id="{9C7110FA-A39B-0ED0-FA49-FA6A90F04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CD02D8DF-DAF0-9D2E-9FC2-2B133A1CD0F2}"/>
                </a:ext>
              </a:extLst>
            </p:cNvPr>
            <p:cNvGrpSpPr/>
            <p:nvPr/>
          </p:nvGrpSpPr>
          <p:grpSpPr>
            <a:xfrm>
              <a:off x="9748225" y="2225868"/>
              <a:ext cx="180000" cy="180000"/>
              <a:chOff x="4204188" y="1155438"/>
              <a:chExt cx="180000" cy="180000"/>
            </a:xfrm>
          </p:grpSpPr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8EC3D58C-C830-C5AF-36A9-2E93FEEE2054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08" name="Freeform 29">
                <a:extLst>
                  <a:ext uri="{FF2B5EF4-FFF2-40B4-BE49-F238E27FC236}">
                    <a16:creationId xmlns:a16="http://schemas.microsoft.com/office/drawing/2014/main" id="{24C55C4C-34E3-EAC6-335B-06A2A876F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3FA1B68A-B07B-69E4-8D37-12F246B97CF1}"/>
                </a:ext>
              </a:extLst>
            </p:cNvPr>
            <p:cNvGrpSpPr/>
            <p:nvPr/>
          </p:nvGrpSpPr>
          <p:grpSpPr>
            <a:xfrm>
              <a:off x="9748225" y="2555358"/>
              <a:ext cx="180000" cy="180000"/>
              <a:chOff x="4204188" y="1155438"/>
              <a:chExt cx="180000" cy="180000"/>
            </a:xfrm>
          </p:grpSpPr>
          <p:sp>
            <p:nvSpPr>
              <p:cNvPr id="210" name="Rectangle 209">
                <a:extLst>
                  <a:ext uri="{FF2B5EF4-FFF2-40B4-BE49-F238E27FC236}">
                    <a16:creationId xmlns:a16="http://schemas.microsoft.com/office/drawing/2014/main" id="{B20024A2-2874-1C2F-442D-DFD6315AAFC0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11" name="Freeform 29">
                <a:extLst>
                  <a:ext uri="{FF2B5EF4-FFF2-40B4-BE49-F238E27FC236}">
                    <a16:creationId xmlns:a16="http://schemas.microsoft.com/office/drawing/2014/main" id="{675E52BF-D716-9D55-82A9-C579AB1CD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5DA2C5BD-961C-1AF3-BD2E-A4265498C538}"/>
                </a:ext>
              </a:extLst>
            </p:cNvPr>
            <p:cNvGrpSpPr/>
            <p:nvPr/>
          </p:nvGrpSpPr>
          <p:grpSpPr>
            <a:xfrm>
              <a:off x="9748225" y="2897993"/>
              <a:ext cx="180000" cy="180000"/>
              <a:chOff x="4204188" y="1155438"/>
              <a:chExt cx="180000" cy="180000"/>
            </a:xfrm>
          </p:grpSpPr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4C181CA9-BE01-C158-AD82-96269DD7BFAF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14" name="Freeform 29">
                <a:extLst>
                  <a:ext uri="{FF2B5EF4-FFF2-40B4-BE49-F238E27FC236}">
                    <a16:creationId xmlns:a16="http://schemas.microsoft.com/office/drawing/2014/main" id="{1E0EC928-7E16-4E21-4173-01C5330A8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047B44D8-750A-23CB-0E70-831FCB4C821D}"/>
                </a:ext>
              </a:extLst>
            </p:cNvPr>
            <p:cNvGrpSpPr/>
            <p:nvPr/>
          </p:nvGrpSpPr>
          <p:grpSpPr>
            <a:xfrm>
              <a:off x="9748225" y="3197806"/>
              <a:ext cx="180000" cy="180000"/>
              <a:chOff x="4204188" y="1155438"/>
              <a:chExt cx="180000" cy="180000"/>
            </a:xfrm>
          </p:grpSpPr>
          <p:sp>
            <p:nvSpPr>
              <p:cNvPr id="216" name="Rectangle 215">
                <a:extLst>
                  <a:ext uri="{FF2B5EF4-FFF2-40B4-BE49-F238E27FC236}">
                    <a16:creationId xmlns:a16="http://schemas.microsoft.com/office/drawing/2014/main" id="{9D5966D2-0177-62CF-4972-5B9EFD9CEE9A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17" name="Freeform 29">
                <a:extLst>
                  <a:ext uri="{FF2B5EF4-FFF2-40B4-BE49-F238E27FC236}">
                    <a16:creationId xmlns:a16="http://schemas.microsoft.com/office/drawing/2014/main" id="{63866427-072B-D6EA-0EF3-82C1FDA1E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C1135378-694F-FD1F-AD3E-3A9809C72DE7}"/>
                </a:ext>
              </a:extLst>
            </p:cNvPr>
            <p:cNvGrpSpPr/>
            <p:nvPr/>
          </p:nvGrpSpPr>
          <p:grpSpPr>
            <a:xfrm>
              <a:off x="9748225" y="3469271"/>
              <a:ext cx="180000" cy="180000"/>
              <a:chOff x="4204188" y="1155438"/>
              <a:chExt cx="180000" cy="180000"/>
            </a:xfrm>
          </p:grpSpPr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2D20DF90-B47A-3822-1227-08E9A38BEDA0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20" name="Freeform 29">
                <a:extLst>
                  <a:ext uri="{FF2B5EF4-FFF2-40B4-BE49-F238E27FC236}">
                    <a16:creationId xmlns:a16="http://schemas.microsoft.com/office/drawing/2014/main" id="{217893F6-0ACA-3436-DDED-08EC87EB6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6956D502-C24B-9F71-B3B9-E561271C2470}"/>
                </a:ext>
              </a:extLst>
            </p:cNvPr>
            <p:cNvGrpSpPr/>
            <p:nvPr/>
          </p:nvGrpSpPr>
          <p:grpSpPr>
            <a:xfrm>
              <a:off x="9748225" y="3751446"/>
              <a:ext cx="180000" cy="180000"/>
              <a:chOff x="4204188" y="1155438"/>
              <a:chExt cx="180000" cy="180000"/>
            </a:xfrm>
          </p:grpSpPr>
          <p:sp>
            <p:nvSpPr>
              <p:cNvPr id="222" name="Rectangle 221">
                <a:extLst>
                  <a:ext uri="{FF2B5EF4-FFF2-40B4-BE49-F238E27FC236}">
                    <a16:creationId xmlns:a16="http://schemas.microsoft.com/office/drawing/2014/main" id="{A3F75F13-9028-2F4D-43DF-194F093BC7A0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23" name="Freeform 29">
                <a:extLst>
                  <a:ext uri="{FF2B5EF4-FFF2-40B4-BE49-F238E27FC236}">
                    <a16:creationId xmlns:a16="http://schemas.microsoft.com/office/drawing/2014/main" id="{C1B958F3-2B96-87A8-AF22-0420A0550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25FC033E-4391-EF35-6258-57BC3A04A2C3}"/>
                </a:ext>
              </a:extLst>
            </p:cNvPr>
            <p:cNvGrpSpPr/>
            <p:nvPr/>
          </p:nvGrpSpPr>
          <p:grpSpPr>
            <a:xfrm>
              <a:off x="9748225" y="4036008"/>
              <a:ext cx="180000" cy="180000"/>
              <a:chOff x="3875704" y="2241033"/>
              <a:chExt cx="180000" cy="180000"/>
            </a:xfrm>
          </p:grpSpPr>
          <p:sp>
            <p:nvSpPr>
              <p:cNvPr id="225" name="Rectangle 224">
                <a:extLst>
                  <a:ext uri="{FF2B5EF4-FFF2-40B4-BE49-F238E27FC236}">
                    <a16:creationId xmlns:a16="http://schemas.microsoft.com/office/drawing/2014/main" id="{31037EDD-5A50-0114-4AF1-C56327AFD707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26" name="Freeform 33">
                <a:extLst>
                  <a:ext uri="{FF2B5EF4-FFF2-40B4-BE49-F238E27FC236}">
                    <a16:creationId xmlns:a16="http://schemas.microsoft.com/office/drawing/2014/main" id="{9D93D262-B3BC-3316-7001-BBED2137A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813D2E27-168A-CD64-A36D-E0EB61433E0F}"/>
                </a:ext>
              </a:extLst>
            </p:cNvPr>
            <p:cNvGrpSpPr/>
            <p:nvPr/>
          </p:nvGrpSpPr>
          <p:grpSpPr>
            <a:xfrm>
              <a:off x="9748225" y="4310843"/>
              <a:ext cx="180000" cy="180000"/>
              <a:chOff x="3875704" y="2241033"/>
              <a:chExt cx="180000" cy="180000"/>
            </a:xfrm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D448CB74-BD87-043D-3C33-E1988ABBB844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29" name="Freeform 33">
                <a:extLst>
                  <a:ext uri="{FF2B5EF4-FFF2-40B4-BE49-F238E27FC236}">
                    <a16:creationId xmlns:a16="http://schemas.microsoft.com/office/drawing/2014/main" id="{E179A8FF-62A9-056E-5ABF-580224019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92B08B79-8157-0AE9-7C88-3B8B963D88BB}"/>
                </a:ext>
              </a:extLst>
            </p:cNvPr>
            <p:cNvGrpSpPr/>
            <p:nvPr/>
          </p:nvGrpSpPr>
          <p:grpSpPr>
            <a:xfrm>
              <a:off x="9748225" y="4654479"/>
              <a:ext cx="180000" cy="180000"/>
              <a:chOff x="4204188" y="1155438"/>
              <a:chExt cx="180000" cy="180000"/>
            </a:xfrm>
          </p:grpSpPr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2D85EFAD-EBE2-92CA-77F9-4276F9CA695B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32" name="Freeform 29">
                <a:extLst>
                  <a:ext uri="{FF2B5EF4-FFF2-40B4-BE49-F238E27FC236}">
                    <a16:creationId xmlns:a16="http://schemas.microsoft.com/office/drawing/2014/main" id="{54F9BC23-30F1-98C5-18C4-AD1A35E5D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32187B01-D0FE-12DD-52BF-2F23DDCAA256}"/>
                </a:ext>
              </a:extLst>
            </p:cNvPr>
            <p:cNvGrpSpPr/>
            <p:nvPr/>
          </p:nvGrpSpPr>
          <p:grpSpPr>
            <a:xfrm>
              <a:off x="9748225" y="5059767"/>
              <a:ext cx="180000" cy="180000"/>
              <a:chOff x="4204188" y="1155438"/>
              <a:chExt cx="180000" cy="180000"/>
            </a:xfrm>
          </p:grpSpPr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294369E9-6335-7391-2E00-9913FC834A95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35" name="Freeform 29">
                <a:extLst>
                  <a:ext uri="{FF2B5EF4-FFF2-40B4-BE49-F238E27FC236}">
                    <a16:creationId xmlns:a16="http://schemas.microsoft.com/office/drawing/2014/main" id="{1E6CE981-2793-400E-47FA-F9D696D6B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B8CDD028-9A29-3D9A-299C-77C15310C4A0}"/>
                </a:ext>
              </a:extLst>
            </p:cNvPr>
            <p:cNvGrpSpPr/>
            <p:nvPr/>
          </p:nvGrpSpPr>
          <p:grpSpPr>
            <a:xfrm>
              <a:off x="9748225" y="5401216"/>
              <a:ext cx="180000" cy="180000"/>
              <a:chOff x="3875704" y="2241033"/>
              <a:chExt cx="180000" cy="180000"/>
            </a:xfrm>
          </p:grpSpPr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77B55094-6EC6-B229-5B14-1A418C3171E8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38" name="Freeform 33">
                <a:extLst>
                  <a:ext uri="{FF2B5EF4-FFF2-40B4-BE49-F238E27FC236}">
                    <a16:creationId xmlns:a16="http://schemas.microsoft.com/office/drawing/2014/main" id="{9B8F0D23-C259-D0E1-7B31-4A8EC059B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7F7FFA77-77B0-5CD5-CA7C-7D9D01E1B94F}"/>
                </a:ext>
              </a:extLst>
            </p:cNvPr>
            <p:cNvGrpSpPr/>
            <p:nvPr/>
          </p:nvGrpSpPr>
          <p:grpSpPr>
            <a:xfrm>
              <a:off x="9748225" y="5683001"/>
              <a:ext cx="180000" cy="180000"/>
              <a:chOff x="4204188" y="1155438"/>
              <a:chExt cx="180000" cy="180000"/>
            </a:xfrm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60EA3EFB-CD9B-CFA9-69A9-67D315A6B4C2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41" name="Freeform 29">
                <a:extLst>
                  <a:ext uri="{FF2B5EF4-FFF2-40B4-BE49-F238E27FC236}">
                    <a16:creationId xmlns:a16="http://schemas.microsoft.com/office/drawing/2014/main" id="{D21D6E8A-1FD8-30CD-448B-E506C1861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57765A48-3A73-46CD-E89A-AE414FAF1688}"/>
                </a:ext>
              </a:extLst>
            </p:cNvPr>
            <p:cNvGrpSpPr/>
            <p:nvPr/>
          </p:nvGrpSpPr>
          <p:grpSpPr>
            <a:xfrm>
              <a:off x="9748225" y="5957691"/>
              <a:ext cx="180000" cy="180000"/>
              <a:chOff x="4204188" y="1155438"/>
              <a:chExt cx="180000" cy="180000"/>
            </a:xfrm>
          </p:grpSpPr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4649A45B-AE10-F872-15C9-69D53226CC33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44" name="Freeform 29">
                <a:extLst>
                  <a:ext uri="{FF2B5EF4-FFF2-40B4-BE49-F238E27FC236}">
                    <a16:creationId xmlns:a16="http://schemas.microsoft.com/office/drawing/2014/main" id="{5CC0F47C-93A8-3587-62A1-8BE32169FF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2A23673D-554B-4010-D49A-C6DB23664E87}"/>
                </a:ext>
              </a:extLst>
            </p:cNvPr>
            <p:cNvGrpSpPr/>
            <p:nvPr/>
          </p:nvGrpSpPr>
          <p:grpSpPr>
            <a:xfrm>
              <a:off x="10958525" y="2231508"/>
              <a:ext cx="180000" cy="180000"/>
              <a:chOff x="3875704" y="2241033"/>
              <a:chExt cx="180000" cy="180000"/>
            </a:xfrm>
          </p:grpSpPr>
          <p:sp>
            <p:nvSpPr>
              <p:cNvPr id="246" name="Rectangle 245">
                <a:extLst>
                  <a:ext uri="{FF2B5EF4-FFF2-40B4-BE49-F238E27FC236}">
                    <a16:creationId xmlns:a16="http://schemas.microsoft.com/office/drawing/2014/main" id="{9CD2B2FC-1909-86AE-F0A5-9BE9A989491D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47" name="Freeform 33">
                <a:extLst>
                  <a:ext uri="{FF2B5EF4-FFF2-40B4-BE49-F238E27FC236}">
                    <a16:creationId xmlns:a16="http://schemas.microsoft.com/office/drawing/2014/main" id="{B156BB4B-73EB-0105-89E6-2926D71AC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5B59D8B0-3865-422E-7184-6C7FE76AFBF5}"/>
                </a:ext>
              </a:extLst>
            </p:cNvPr>
            <p:cNvGrpSpPr/>
            <p:nvPr/>
          </p:nvGrpSpPr>
          <p:grpSpPr>
            <a:xfrm>
              <a:off x="10958525" y="2555358"/>
              <a:ext cx="180000" cy="180000"/>
              <a:chOff x="4204188" y="1155438"/>
              <a:chExt cx="180000" cy="180000"/>
            </a:xfrm>
          </p:grpSpPr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1AE531AE-AF25-FFA8-E0C7-45B03A136122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50" name="Freeform 29">
                <a:extLst>
                  <a:ext uri="{FF2B5EF4-FFF2-40B4-BE49-F238E27FC236}">
                    <a16:creationId xmlns:a16="http://schemas.microsoft.com/office/drawing/2014/main" id="{411B5E60-01C5-3F97-D974-AB9282DAE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6DBE2C56-45AC-2CCF-EE9B-C8509B484F3F}"/>
                </a:ext>
              </a:extLst>
            </p:cNvPr>
            <p:cNvGrpSpPr/>
            <p:nvPr/>
          </p:nvGrpSpPr>
          <p:grpSpPr>
            <a:xfrm>
              <a:off x="10958525" y="2902534"/>
              <a:ext cx="180000" cy="180000"/>
              <a:chOff x="3875704" y="2241033"/>
              <a:chExt cx="180000" cy="180000"/>
            </a:xfrm>
          </p:grpSpPr>
          <p:sp>
            <p:nvSpPr>
              <p:cNvPr id="252" name="Rectangle 251">
                <a:extLst>
                  <a:ext uri="{FF2B5EF4-FFF2-40B4-BE49-F238E27FC236}">
                    <a16:creationId xmlns:a16="http://schemas.microsoft.com/office/drawing/2014/main" id="{3FAA22CA-E9DB-4A69-7145-4FF12FE432A1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53" name="Freeform 33">
                <a:extLst>
                  <a:ext uri="{FF2B5EF4-FFF2-40B4-BE49-F238E27FC236}">
                    <a16:creationId xmlns:a16="http://schemas.microsoft.com/office/drawing/2014/main" id="{8E326AF3-DF60-AC76-5BA6-5EF9B0B49D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B1698968-7BB0-0FEB-31C3-651E09AD575D}"/>
                </a:ext>
              </a:extLst>
            </p:cNvPr>
            <p:cNvGrpSpPr/>
            <p:nvPr/>
          </p:nvGrpSpPr>
          <p:grpSpPr>
            <a:xfrm>
              <a:off x="10958525" y="3197806"/>
              <a:ext cx="180000" cy="180000"/>
              <a:chOff x="4204188" y="1155438"/>
              <a:chExt cx="180000" cy="180000"/>
            </a:xfrm>
          </p:grpSpPr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8AC112B8-1E6D-2449-E92C-5A270035569D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56" name="Freeform 29">
                <a:extLst>
                  <a:ext uri="{FF2B5EF4-FFF2-40B4-BE49-F238E27FC236}">
                    <a16:creationId xmlns:a16="http://schemas.microsoft.com/office/drawing/2014/main" id="{21B8D5D9-56BF-F5E3-22F9-EE0C50F291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57" name="Group 256">
              <a:extLst>
                <a:ext uri="{FF2B5EF4-FFF2-40B4-BE49-F238E27FC236}">
                  <a16:creationId xmlns:a16="http://schemas.microsoft.com/office/drawing/2014/main" id="{FD9BDD21-C00B-65B9-05EC-74F9BD2E56D6}"/>
                </a:ext>
              </a:extLst>
            </p:cNvPr>
            <p:cNvGrpSpPr/>
            <p:nvPr/>
          </p:nvGrpSpPr>
          <p:grpSpPr>
            <a:xfrm>
              <a:off x="10958525" y="3469271"/>
              <a:ext cx="180000" cy="180000"/>
              <a:chOff x="3875704" y="2241033"/>
              <a:chExt cx="180000" cy="180000"/>
            </a:xfrm>
          </p:grpSpPr>
          <p:sp>
            <p:nvSpPr>
              <p:cNvPr id="258" name="Rectangle 257">
                <a:extLst>
                  <a:ext uri="{FF2B5EF4-FFF2-40B4-BE49-F238E27FC236}">
                    <a16:creationId xmlns:a16="http://schemas.microsoft.com/office/drawing/2014/main" id="{221125A1-A33D-6308-0383-498121E57AF5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59" name="Freeform 33">
                <a:extLst>
                  <a:ext uri="{FF2B5EF4-FFF2-40B4-BE49-F238E27FC236}">
                    <a16:creationId xmlns:a16="http://schemas.microsoft.com/office/drawing/2014/main" id="{46430FF1-D2D9-071F-47DA-CBA4459AA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BE9939A9-3273-E401-02A1-D6920208FA23}"/>
                </a:ext>
              </a:extLst>
            </p:cNvPr>
            <p:cNvGrpSpPr/>
            <p:nvPr/>
          </p:nvGrpSpPr>
          <p:grpSpPr>
            <a:xfrm>
              <a:off x="10958525" y="3748869"/>
              <a:ext cx="180000" cy="180000"/>
              <a:chOff x="3875704" y="2241033"/>
              <a:chExt cx="180000" cy="180000"/>
            </a:xfrm>
          </p:grpSpPr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FF587E37-236B-AC59-7975-50A2C80B7E5B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62" name="Freeform 33">
                <a:extLst>
                  <a:ext uri="{FF2B5EF4-FFF2-40B4-BE49-F238E27FC236}">
                    <a16:creationId xmlns:a16="http://schemas.microsoft.com/office/drawing/2014/main" id="{FA4C8724-5D1D-8D3A-AEDF-6A4696BC3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C9A2F776-2F23-CD27-ADAC-718E5E10810B}"/>
                </a:ext>
              </a:extLst>
            </p:cNvPr>
            <p:cNvGrpSpPr/>
            <p:nvPr/>
          </p:nvGrpSpPr>
          <p:grpSpPr>
            <a:xfrm>
              <a:off x="10958525" y="4036008"/>
              <a:ext cx="180000" cy="180000"/>
              <a:chOff x="3875704" y="2241033"/>
              <a:chExt cx="180000" cy="180000"/>
            </a:xfrm>
          </p:grpSpPr>
          <p:sp>
            <p:nvSpPr>
              <p:cNvPr id="264" name="Rectangle 263">
                <a:extLst>
                  <a:ext uri="{FF2B5EF4-FFF2-40B4-BE49-F238E27FC236}">
                    <a16:creationId xmlns:a16="http://schemas.microsoft.com/office/drawing/2014/main" id="{47BE7397-C06C-8D37-14E3-264A2D1358EB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65" name="Freeform 33">
                <a:extLst>
                  <a:ext uri="{FF2B5EF4-FFF2-40B4-BE49-F238E27FC236}">
                    <a16:creationId xmlns:a16="http://schemas.microsoft.com/office/drawing/2014/main" id="{0C91E05C-E01E-D7E7-3F92-7077CCC439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7225F04B-A5C4-2328-B93D-397981220D9B}"/>
                </a:ext>
              </a:extLst>
            </p:cNvPr>
            <p:cNvGrpSpPr/>
            <p:nvPr/>
          </p:nvGrpSpPr>
          <p:grpSpPr>
            <a:xfrm>
              <a:off x="10958525" y="4310843"/>
              <a:ext cx="180000" cy="180000"/>
              <a:chOff x="3875704" y="2241033"/>
              <a:chExt cx="180000" cy="180000"/>
            </a:xfrm>
          </p:grpSpPr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F828EFAA-95C9-554E-6315-0D5D37558A1E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68" name="Freeform 33">
                <a:extLst>
                  <a:ext uri="{FF2B5EF4-FFF2-40B4-BE49-F238E27FC236}">
                    <a16:creationId xmlns:a16="http://schemas.microsoft.com/office/drawing/2014/main" id="{8DC1A066-CF4C-8707-E270-ADFE0CB15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65A9027A-F1CB-56A3-923C-B39E7245664B}"/>
                </a:ext>
              </a:extLst>
            </p:cNvPr>
            <p:cNvGrpSpPr/>
            <p:nvPr/>
          </p:nvGrpSpPr>
          <p:grpSpPr>
            <a:xfrm>
              <a:off x="10958525" y="4654479"/>
              <a:ext cx="180000" cy="180000"/>
              <a:chOff x="3875704" y="2241033"/>
              <a:chExt cx="180000" cy="180000"/>
            </a:xfrm>
          </p:grpSpPr>
          <p:sp>
            <p:nvSpPr>
              <p:cNvPr id="270" name="Rectangle 269">
                <a:extLst>
                  <a:ext uri="{FF2B5EF4-FFF2-40B4-BE49-F238E27FC236}">
                    <a16:creationId xmlns:a16="http://schemas.microsoft.com/office/drawing/2014/main" id="{38C584BC-38D5-F8F9-FCF4-EA945FC4155D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71" name="Freeform 33">
                <a:extLst>
                  <a:ext uri="{FF2B5EF4-FFF2-40B4-BE49-F238E27FC236}">
                    <a16:creationId xmlns:a16="http://schemas.microsoft.com/office/drawing/2014/main" id="{66584696-CFF5-6266-E644-A960D4E9E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A4A52D0A-53C4-750B-1A08-006263C8919E}"/>
                </a:ext>
              </a:extLst>
            </p:cNvPr>
            <p:cNvGrpSpPr/>
            <p:nvPr/>
          </p:nvGrpSpPr>
          <p:grpSpPr>
            <a:xfrm>
              <a:off x="10958525" y="5059767"/>
              <a:ext cx="180000" cy="180000"/>
              <a:chOff x="3875704" y="2241033"/>
              <a:chExt cx="180000" cy="180000"/>
            </a:xfrm>
          </p:grpSpPr>
          <p:sp>
            <p:nvSpPr>
              <p:cNvPr id="273" name="Rectangle 272">
                <a:extLst>
                  <a:ext uri="{FF2B5EF4-FFF2-40B4-BE49-F238E27FC236}">
                    <a16:creationId xmlns:a16="http://schemas.microsoft.com/office/drawing/2014/main" id="{CCADF39E-F258-32D7-9D62-8542DBD52A92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74" name="Freeform 33">
                <a:extLst>
                  <a:ext uri="{FF2B5EF4-FFF2-40B4-BE49-F238E27FC236}">
                    <a16:creationId xmlns:a16="http://schemas.microsoft.com/office/drawing/2014/main" id="{DDC6A904-7F0C-70F4-45D6-90CA8E917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75" name="Group 274">
              <a:extLst>
                <a:ext uri="{FF2B5EF4-FFF2-40B4-BE49-F238E27FC236}">
                  <a16:creationId xmlns:a16="http://schemas.microsoft.com/office/drawing/2014/main" id="{1E1A6CFF-B492-FF36-5140-34EA008AAE70}"/>
                </a:ext>
              </a:extLst>
            </p:cNvPr>
            <p:cNvGrpSpPr/>
            <p:nvPr/>
          </p:nvGrpSpPr>
          <p:grpSpPr>
            <a:xfrm>
              <a:off x="10958525" y="5957518"/>
              <a:ext cx="180000" cy="180000"/>
              <a:chOff x="3875704" y="2241033"/>
              <a:chExt cx="180000" cy="180000"/>
            </a:xfrm>
          </p:grpSpPr>
          <p:sp>
            <p:nvSpPr>
              <p:cNvPr id="276" name="Rectangle 275">
                <a:extLst>
                  <a:ext uri="{FF2B5EF4-FFF2-40B4-BE49-F238E27FC236}">
                    <a16:creationId xmlns:a16="http://schemas.microsoft.com/office/drawing/2014/main" id="{B6269819-6E83-0037-6CAD-696072618529}"/>
                  </a:ext>
                </a:extLst>
              </p:cNvPr>
              <p:cNvSpPr/>
              <p:nvPr/>
            </p:nvSpPr>
            <p:spPr>
              <a:xfrm>
                <a:off x="3875704" y="2241033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77" name="Freeform 33">
                <a:extLst>
                  <a:ext uri="{FF2B5EF4-FFF2-40B4-BE49-F238E27FC236}">
                    <a16:creationId xmlns:a16="http://schemas.microsoft.com/office/drawing/2014/main" id="{156ECC4C-9006-0E4C-428A-E91A90263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13" y="2279300"/>
                <a:ext cx="135183" cy="103467"/>
              </a:xfrm>
              <a:custGeom>
                <a:avLst/>
                <a:gdLst>
                  <a:gd name="T0" fmla="*/ 3 w 106"/>
                  <a:gd name="T1" fmla="*/ 35 h 81"/>
                  <a:gd name="T2" fmla="*/ 14 w 106"/>
                  <a:gd name="T3" fmla="*/ 35 h 81"/>
                  <a:gd name="T4" fmla="*/ 37 w 106"/>
                  <a:gd name="T5" fmla="*/ 58 h 81"/>
                  <a:gd name="T6" fmla="*/ 92 w 106"/>
                  <a:gd name="T7" fmla="*/ 3 h 81"/>
                  <a:gd name="T8" fmla="*/ 103 w 106"/>
                  <a:gd name="T9" fmla="*/ 3 h 81"/>
                  <a:gd name="T10" fmla="*/ 103 w 106"/>
                  <a:gd name="T11" fmla="*/ 15 h 81"/>
                  <a:gd name="T12" fmla="*/ 37 w 106"/>
                  <a:gd name="T13" fmla="*/ 81 h 81"/>
                  <a:gd name="T14" fmla="*/ 3 w 106"/>
                  <a:gd name="T15" fmla="*/ 47 h 81"/>
                  <a:gd name="T16" fmla="*/ 3 w 106"/>
                  <a:gd name="T17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81">
                    <a:moveTo>
                      <a:pt x="3" y="35"/>
                    </a:moveTo>
                    <a:cubicBezTo>
                      <a:pt x="6" y="32"/>
                      <a:pt x="11" y="32"/>
                      <a:pt x="14" y="35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5" y="0"/>
                      <a:pt x="100" y="0"/>
                      <a:pt x="103" y="3"/>
                    </a:cubicBezTo>
                    <a:cubicBezTo>
                      <a:pt x="106" y="6"/>
                      <a:pt x="106" y="12"/>
                      <a:pt x="103" y="15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0" y="44"/>
                      <a:pt x="0" y="38"/>
                      <a:pt x="3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278" name="Group 277">
              <a:extLst>
                <a:ext uri="{FF2B5EF4-FFF2-40B4-BE49-F238E27FC236}">
                  <a16:creationId xmlns:a16="http://schemas.microsoft.com/office/drawing/2014/main" id="{C5AC10EC-3EF1-55FC-C5F0-09A69DE27EE3}"/>
                </a:ext>
              </a:extLst>
            </p:cNvPr>
            <p:cNvGrpSpPr/>
            <p:nvPr/>
          </p:nvGrpSpPr>
          <p:grpSpPr>
            <a:xfrm>
              <a:off x="10958084" y="5683001"/>
              <a:ext cx="180000" cy="180000"/>
              <a:chOff x="4204188" y="1155438"/>
              <a:chExt cx="180000" cy="180000"/>
            </a:xfrm>
          </p:grpSpPr>
          <p:sp>
            <p:nvSpPr>
              <p:cNvPr id="279" name="Rectangle 278">
                <a:extLst>
                  <a:ext uri="{FF2B5EF4-FFF2-40B4-BE49-F238E27FC236}">
                    <a16:creationId xmlns:a16="http://schemas.microsoft.com/office/drawing/2014/main" id="{85F86198-B9C4-66BC-8B40-EE4BC76BDB77}"/>
                  </a:ext>
                </a:extLst>
              </p:cNvPr>
              <p:cNvSpPr/>
              <p:nvPr/>
            </p:nvSpPr>
            <p:spPr>
              <a:xfrm>
                <a:off x="4204188" y="1155438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754">
                  <a:defRPr/>
                </a:pPr>
                <a:endParaRPr lang="en-GB" sz="17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80" name="Freeform 29">
                <a:extLst>
                  <a:ext uri="{FF2B5EF4-FFF2-40B4-BE49-F238E27FC236}">
                    <a16:creationId xmlns:a16="http://schemas.microsoft.com/office/drawing/2014/main" id="{E128940D-4DB2-8EF1-9F34-17CE6BBA9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4922" y="1186172"/>
                <a:ext cx="118532" cy="118532"/>
              </a:xfrm>
              <a:custGeom>
                <a:avLst/>
                <a:gdLst>
                  <a:gd name="T0" fmla="*/ 79 w 82"/>
                  <a:gd name="T1" fmla="*/ 67 h 82"/>
                  <a:gd name="T2" fmla="*/ 79 w 82"/>
                  <a:gd name="T3" fmla="*/ 79 h 82"/>
                  <a:gd name="T4" fmla="*/ 67 w 82"/>
                  <a:gd name="T5" fmla="*/ 79 h 82"/>
                  <a:gd name="T6" fmla="*/ 41 w 82"/>
                  <a:gd name="T7" fmla="*/ 52 h 82"/>
                  <a:gd name="T8" fmla="*/ 15 w 82"/>
                  <a:gd name="T9" fmla="*/ 79 h 82"/>
                  <a:gd name="T10" fmla="*/ 3 w 82"/>
                  <a:gd name="T11" fmla="*/ 79 h 82"/>
                  <a:gd name="T12" fmla="*/ 3 w 82"/>
                  <a:gd name="T13" fmla="*/ 67 h 82"/>
                  <a:gd name="T14" fmla="*/ 30 w 82"/>
                  <a:gd name="T15" fmla="*/ 41 h 82"/>
                  <a:gd name="T16" fmla="*/ 3 w 82"/>
                  <a:gd name="T17" fmla="*/ 15 h 82"/>
                  <a:gd name="T18" fmla="*/ 3 w 82"/>
                  <a:gd name="T19" fmla="*/ 3 h 82"/>
                  <a:gd name="T20" fmla="*/ 15 w 82"/>
                  <a:gd name="T21" fmla="*/ 3 h 82"/>
                  <a:gd name="T22" fmla="*/ 41 w 82"/>
                  <a:gd name="T23" fmla="*/ 30 h 82"/>
                  <a:gd name="T24" fmla="*/ 67 w 82"/>
                  <a:gd name="T25" fmla="*/ 3 h 82"/>
                  <a:gd name="T26" fmla="*/ 79 w 82"/>
                  <a:gd name="T27" fmla="*/ 3 h 82"/>
                  <a:gd name="T28" fmla="*/ 79 w 82"/>
                  <a:gd name="T29" fmla="*/ 15 h 82"/>
                  <a:gd name="T30" fmla="*/ 52 w 82"/>
                  <a:gd name="T31" fmla="*/ 41 h 82"/>
                  <a:gd name="T32" fmla="*/ 79 w 82"/>
                  <a:gd name="T33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" h="82">
                    <a:moveTo>
                      <a:pt x="79" y="67"/>
                    </a:moveTo>
                    <a:cubicBezTo>
                      <a:pt x="82" y="70"/>
                      <a:pt x="82" y="76"/>
                      <a:pt x="79" y="79"/>
                    </a:cubicBezTo>
                    <a:cubicBezTo>
                      <a:pt x="76" y="82"/>
                      <a:pt x="70" y="82"/>
                      <a:pt x="67" y="79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2" y="82"/>
                      <a:pt x="6" y="82"/>
                      <a:pt x="3" y="79"/>
                    </a:cubicBezTo>
                    <a:cubicBezTo>
                      <a:pt x="0" y="76"/>
                      <a:pt x="0" y="70"/>
                      <a:pt x="3" y="6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6"/>
                      <a:pt x="3" y="3"/>
                    </a:cubicBezTo>
                    <a:cubicBezTo>
                      <a:pt x="6" y="0"/>
                      <a:pt x="12" y="0"/>
                      <a:pt x="15" y="3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70" y="0"/>
                      <a:pt x="76" y="0"/>
                      <a:pt x="79" y="3"/>
                    </a:cubicBezTo>
                    <a:cubicBezTo>
                      <a:pt x="82" y="6"/>
                      <a:pt x="82" y="12"/>
                      <a:pt x="79" y="15"/>
                    </a:cubicBezTo>
                    <a:cubicBezTo>
                      <a:pt x="52" y="41"/>
                      <a:pt x="52" y="41"/>
                      <a:pt x="52" y="41"/>
                    </a:cubicBezTo>
                    <a:lnTo>
                      <a:pt x="79" y="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107" tIns="45554" rIns="91107" bIns="45554" numCol="1" anchor="t" anchorCtr="0" compatLnSpc="1">
                <a:prstTxWarp prst="textNoShape">
                  <a:avLst/>
                </a:prstTxWarp>
              </a:bodyPr>
              <a:lstStyle/>
              <a:p>
                <a:pPr defTabSz="912754">
                  <a:defRPr/>
                </a:pPr>
                <a:endParaRPr lang="en-US" sz="1794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F4D02783-AC81-BC70-4C75-01C823421953}"/>
              </a:ext>
            </a:extLst>
          </p:cNvPr>
          <p:cNvGrpSpPr/>
          <p:nvPr/>
        </p:nvGrpSpPr>
        <p:grpSpPr>
          <a:xfrm>
            <a:off x="539998" y="6258004"/>
            <a:ext cx="179672" cy="179672"/>
            <a:chOff x="4204188" y="1155438"/>
            <a:chExt cx="180000" cy="180000"/>
          </a:xfrm>
        </p:grpSpPr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0699B66B-FDE8-E7BC-4C1F-3FB16D3454B9}"/>
                </a:ext>
              </a:extLst>
            </p:cNvPr>
            <p:cNvSpPr/>
            <p:nvPr/>
          </p:nvSpPr>
          <p:spPr>
            <a:xfrm>
              <a:off x="4204188" y="1155438"/>
              <a:ext cx="180000" cy="18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754">
                <a:defRPr/>
              </a:pPr>
              <a:endParaRPr lang="en-GB" sz="1797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9E02FCBA-9216-9B50-D091-31786D692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4922" y="1186172"/>
              <a:ext cx="118532" cy="118532"/>
            </a:xfrm>
            <a:custGeom>
              <a:avLst/>
              <a:gdLst>
                <a:gd name="T0" fmla="*/ 79 w 82"/>
                <a:gd name="T1" fmla="*/ 67 h 82"/>
                <a:gd name="T2" fmla="*/ 79 w 82"/>
                <a:gd name="T3" fmla="*/ 79 h 82"/>
                <a:gd name="T4" fmla="*/ 67 w 82"/>
                <a:gd name="T5" fmla="*/ 79 h 82"/>
                <a:gd name="T6" fmla="*/ 41 w 82"/>
                <a:gd name="T7" fmla="*/ 52 h 82"/>
                <a:gd name="T8" fmla="*/ 15 w 82"/>
                <a:gd name="T9" fmla="*/ 79 h 82"/>
                <a:gd name="T10" fmla="*/ 3 w 82"/>
                <a:gd name="T11" fmla="*/ 79 h 82"/>
                <a:gd name="T12" fmla="*/ 3 w 82"/>
                <a:gd name="T13" fmla="*/ 67 h 82"/>
                <a:gd name="T14" fmla="*/ 30 w 82"/>
                <a:gd name="T15" fmla="*/ 41 h 82"/>
                <a:gd name="T16" fmla="*/ 3 w 82"/>
                <a:gd name="T17" fmla="*/ 15 h 82"/>
                <a:gd name="T18" fmla="*/ 3 w 82"/>
                <a:gd name="T19" fmla="*/ 3 h 82"/>
                <a:gd name="T20" fmla="*/ 15 w 82"/>
                <a:gd name="T21" fmla="*/ 3 h 82"/>
                <a:gd name="T22" fmla="*/ 41 w 82"/>
                <a:gd name="T23" fmla="*/ 30 h 82"/>
                <a:gd name="T24" fmla="*/ 67 w 82"/>
                <a:gd name="T25" fmla="*/ 3 h 82"/>
                <a:gd name="T26" fmla="*/ 79 w 82"/>
                <a:gd name="T27" fmla="*/ 3 h 82"/>
                <a:gd name="T28" fmla="*/ 79 w 82"/>
                <a:gd name="T29" fmla="*/ 15 h 82"/>
                <a:gd name="T30" fmla="*/ 52 w 82"/>
                <a:gd name="T31" fmla="*/ 41 h 82"/>
                <a:gd name="T32" fmla="*/ 79 w 82"/>
                <a:gd name="T33" fmla="*/ 6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82">
                  <a:moveTo>
                    <a:pt x="79" y="67"/>
                  </a:moveTo>
                  <a:cubicBezTo>
                    <a:pt x="82" y="70"/>
                    <a:pt x="82" y="76"/>
                    <a:pt x="79" y="79"/>
                  </a:cubicBezTo>
                  <a:cubicBezTo>
                    <a:pt x="76" y="82"/>
                    <a:pt x="70" y="82"/>
                    <a:pt x="67" y="79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12" y="82"/>
                    <a:pt x="6" y="82"/>
                    <a:pt x="3" y="79"/>
                  </a:cubicBezTo>
                  <a:cubicBezTo>
                    <a:pt x="0" y="76"/>
                    <a:pt x="0" y="70"/>
                    <a:pt x="3" y="67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2"/>
                    <a:pt x="0" y="6"/>
                    <a:pt x="3" y="3"/>
                  </a:cubicBezTo>
                  <a:cubicBezTo>
                    <a:pt x="6" y="0"/>
                    <a:pt x="12" y="0"/>
                    <a:pt x="15" y="3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70" y="0"/>
                    <a:pt x="76" y="0"/>
                    <a:pt x="79" y="3"/>
                  </a:cubicBezTo>
                  <a:cubicBezTo>
                    <a:pt x="82" y="6"/>
                    <a:pt x="82" y="12"/>
                    <a:pt x="79" y="15"/>
                  </a:cubicBezTo>
                  <a:cubicBezTo>
                    <a:pt x="52" y="41"/>
                    <a:pt x="52" y="41"/>
                    <a:pt x="52" y="41"/>
                  </a:cubicBezTo>
                  <a:lnTo>
                    <a:pt x="79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7" tIns="45554" rIns="91107" bIns="45554" numCol="1" anchor="t" anchorCtr="0" compatLnSpc="1">
              <a:prstTxWarp prst="textNoShape">
                <a:avLst/>
              </a:prstTxWarp>
            </a:bodyPr>
            <a:lstStyle/>
            <a:p>
              <a:pPr defTabSz="912754">
                <a:defRPr/>
              </a:pPr>
              <a:endParaRPr lang="en-US" sz="1794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A5832CA5-47D4-BE0F-74B6-ADB0053C0373}"/>
              </a:ext>
            </a:extLst>
          </p:cNvPr>
          <p:cNvGrpSpPr/>
          <p:nvPr/>
        </p:nvGrpSpPr>
        <p:grpSpPr>
          <a:xfrm>
            <a:off x="2248859" y="6258004"/>
            <a:ext cx="179672" cy="179672"/>
            <a:chOff x="3875704" y="2241033"/>
            <a:chExt cx="180000" cy="180000"/>
          </a:xfrm>
        </p:grpSpPr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3F4E43CA-B5F2-07F1-F2A4-95F98F4346DE}"/>
                </a:ext>
              </a:extLst>
            </p:cNvPr>
            <p:cNvSpPr/>
            <p:nvPr/>
          </p:nvSpPr>
          <p:spPr>
            <a:xfrm>
              <a:off x="3875704" y="2241033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754">
                <a:defRPr/>
              </a:pPr>
              <a:endParaRPr lang="en-GB" sz="1797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22" name="Freeform 33">
              <a:extLst>
                <a:ext uri="{FF2B5EF4-FFF2-40B4-BE49-F238E27FC236}">
                  <a16:creationId xmlns:a16="http://schemas.microsoft.com/office/drawing/2014/main" id="{74EE6DC1-58CD-A9F2-1F91-D090D6914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113" y="2279300"/>
              <a:ext cx="135183" cy="103467"/>
            </a:xfrm>
            <a:custGeom>
              <a:avLst/>
              <a:gdLst>
                <a:gd name="T0" fmla="*/ 3 w 106"/>
                <a:gd name="T1" fmla="*/ 35 h 81"/>
                <a:gd name="T2" fmla="*/ 14 w 106"/>
                <a:gd name="T3" fmla="*/ 35 h 81"/>
                <a:gd name="T4" fmla="*/ 37 w 106"/>
                <a:gd name="T5" fmla="*/ 58 h 81"/>
                <a:gd name="T6" fmla="*/ 92 w 106"/>
                <a:gd name="T7" fmla="*/ 3 h 81"/>
                <a:gd name="T8" fmla="*/ 103 w 106"/>
                <a:gd name="T9" fmla="*/ 3 h 81"/>
                <a:gd name="T10" fmla="*/ 103 w 106"/>
                <a:gd name="T11" fmla="*/ 15 h 81"/>
                <a:gd name="T12" fmla="*/ 37 w 106"/>
                <a:gd name="T13" fmla="*/ 81 h 81"/>
                <a:gd name="T14" fmla="*/ 3 w 106"/>
                <a:gd name="T15" fmla="*/ 47 h 81"/>
                <a:gd name="T16" fmla="*/ 3 w 106"/>
                <a:gd name="T17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81">
                  <a:moveTo>
                    <a:pt x="3" y="35"/>
                  </a:moveTo>
                  <a:cubicBezTo>
                    <a:pt x="6" y="32"/>
                    <a:pt x="11" y="32"/>
                    <a:pt x="14" y="35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5" y="0"/>
                    <a:pt x="100" y="0"/>
                    <a:pt x="103" y="3"/>
                  </a:cubicBezTo>
                  <a:cubicBezTo>
                    <a:pt x="106" y="6"/>
                    <a:pt x="106" y="12"/>
                    <a:pt x="103" y="15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4"/>
                    <a:pt x="0" y="38"/>
                    <a:pt x="3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7" tIns="45554" rIns="91107" bIns="45554" numCol="1" anchor="t" anchorCtr="0" compatLnSpc="1">
              <a:prstTxWarp prst="textNoShape">
                <a:avLst/>
              </a:prstTxWarp>
            </a:bodyPr>
            <a:lstStyle/>
            <a:p>
              <a:pPr defTabSz="912754">
                <a:defRPr/>
              </a:pPr>
              <a:endParaRPr lang="en-US" sz="1794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74F4C61B-6A0D-8D56-7423-CA75D6509C68}"/>
              </a:ext>
            </a:extLst>
          </p:cNvPr>
          <p:cNvGrpSpPr/>
          <p:nvPr/>
        </p:nvGrpSpPr>
        <p:grpSpPr>
          <a:xfrm>
            <a:off x="4196524" y="6258004"/>
            <a:ext cx="179672" cy="179672"/>
            <a:chOff x="3875704" y="2241033"/>
            <a:chExt cx="180000" cy="180000"/>
          </a:xfrm>
        </p:grpSpPr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95C2208F-B34C-6AF7-4641-761EE20DE477}"/>
                </a:ext>
              </a:extLst>
            </p:cNvPr>
            <p:cNvSpPr/>
            <p:nvPr/>
          </p:nvSpPr>
          <p:spPr>
            <a:xfrm>
              <a:off x="3875704" y="2241033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754">
                <a:defRPr/>
              </a:pPr>
              <a:endParaRPr lang="en-GB" sz="1797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25" name="Freeform 33">
              <a:extLst>
                <a:ext uri="{FF2B5EF4-FFF2-40B4-BE49-F238E27FC236}">
                  <a16:creationId xmlns:a16="http://schemas.microsoft.com/office/drawing/2014/main" id="{7BB64107-45D5-89F0-3147-20EC099D0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113" y="2279300"/>
              <a:ext cx="135183" cy="103467"/>
            </a:xfrm>
            <a:custGeom>
              <a:avLst/>
              <a:gdLst>
                <a:gd name="T0" fmla="*/ 3 w 106"/>
                <a:gd name="T1" fmla="*/ 35 h 81"/>
                <a:gd name="T2" fmla="*/ 14 w 106"/>
                <a:gd name="T3" fmla="*/ 35 h 81"/>
                <a:gd name="T4" fmla="*/ 37 w 106"/>
                <a:gd name="T5" fmla="*/ 58 h 81"/>
                <a:gd name="T6" fmla="*/ 92 w 106"/>
                <a:gd name="T7" fmla="*/ 3 h 81"/>
                <a:gd name="T8" fmla="*/ 103 w 106"/>
                <a:gd name="T9" fmla="*/ 3 h 81"/>
                <a:gd name="T10" fmla="*/ 103 w 106"/>
                <a:gd name="T11" fmla="*/ 15 h 81"/>
                <a:gd name="T12" fmla="*/ 37 w 106"/>
                <a:gd name="T13" fmla="*/ 81 h 81"/>
                <a:gd name="T14" fmla="*/ 3 w 106"/>
                <a:gd name="T15" fmla="*/ 47 h 81"/>
                <a:gd name="T16" fmla="*/ 3 w 106"/>
                <a:gd name="T17" fmla="*/ 3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81">
                  <a:moveTo>
                    <a:pt x="3" y="35"/>
                  </a:moveTo>
                  <a:cubicBezTo>
                    <a:pt x="6" y="32"/>
                    <a:pt x="11" y="32"/>
                    <a:pt x="14" y="35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5" y="0"/>
                    <a:pt x="100" y="0"/>
                    <a:pt x="103" y="3"/>
                  </a:cubicBezTo>
                  <a:cubicBezTo>
                    <a:pt x="106" y="6"/>
                    <a:pt x="106" y="12"/>
                    <a:pt x="103" y="15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4"/>
                    <a:pt x="0" y="38"/>
                    <a:pt x="3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107" tIns="45554" rIns="91107" bIns="45554" numCol="1" anchor="t" anchorCtr="0" compatLnSpc="1">
              <a:prstTxWarp prst="textNoShape">
                <a:avLst/>
              </a:prstTxWarp>
            </a:bodyPr>
            <a:lstStyle/>
            <a:p>
              <a:pPr defTabSz="912754">
                <a:defRPr/>
              </a:pPr>
              <a:endParaRPr lang="en-US" sz="1794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328" name="Picture 42">
            <a:extLst>
              <a:ext uri="{FF2B5EF4-FFF2-40B4-BE49-F238E27FC236}">
                <a16:creationId xmlns:a16="http://schemas.microsoft.com/office/drawing/2014/main" id="{1E55EC00-041A-9710-9E19-31B1DF7A5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3192" y="1016263"/>
            <a:ext cx="713519" cy="4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9" name="Picture 60">
            <a:extLst>
              <a:ext uri="{FF2B5EF4-FFF2-40B4-BE49-F238E27FC236}">
                <a16:creationId xmlns:a16="http://schemas.microsoft.com/office/drawing/2014/main" id="{9C78FF37-0A99-B746-E7CD-15020B618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71088" y="1007821"/>
            <a:ext cx="531437" cy="483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0" name="Picture 80">
            <a:extLst>
              <a:ext uri="{FF2B5EF4-FFF2-40B4-BE49-F238E27FC236}">
                <a16:creationId xmlns:a16="http://schemas.microsoft.com/office/drawing/2014/main" id="{E560B60A-87A2-D795-5EDB-C3FBD6D153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6590" y="988839"/>
            <a:ext cx="677126" cy="540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1" name="Picture 100">
            <a:extLst>
              <a:ext uri="{FF2B5EF4-FFF2-40B4-BE49-F238E27FC236}">
                <a16:creationId xmlns:a16="http://schemas.microsoft.com/office/drawing/2014/main" id="{550CC8F9-492A-D098-A5B6-7A10AD0F5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0374" y="1027713"/>
            <a:ext cx="834266" cy="52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2" name="Picture 23">
            <a:extLst>
              <a:ext uri="{FF2B5EF4-FFF2-40B4-BE49-F238E27FC236}">
                <a16:creationId xmlns:a16="http://schemas.microsoft.com/office/drawing/2014/main" id="{1210A8FA-E107-9CC1-1754-50D4180239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76249" y="1056062"/>
            <a:ext cx="688084" cy="481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3" name="Picture 14">
            <a:extLst>
              <a:ext uri="{FF2B5EF4-FFF2-40B4-BE49-F238E27FC236}">
                <a16:creationId xmlns:a16="http://schemas.microsoft.com/office/drawing/2014/main" id="{5A847892-FF38-E335-A3B2-66328BD6F3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96392" y="1032686"/>
            <a:ext cx="663983" cy="497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4" name="Picture 2">
            <a:extLst>
              <a:ext uri="{FF2B5EF4-FFF2-40B4-BE49-F238E27FC236}">
                <a16:creationId xmlns:a16="http://schemas.microsoft.com/office/drawing/2014/main" id="{837238AD-C4B6-9FAE-606B-722703070F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07682" y="924457"/>
            <a:ext cx="527298" cy="682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189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" fill="hold"/>
                                        <p:tgtEl>
                                          <p:spTgt spid="3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" fill="hold"/>
                                        <p:tgtEl>
                                          <p:spTgt spid="3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"/>
                                        <p:tgtEl>
                                          <p:spTgt spid="3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328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10" fill="hold"/>
                                        <p:tgtEl>
                                          <p:spTgt spid="328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3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3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3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500" fill="hold"/>
                                        <p:tgtEl>
                                          <p:spTgt spid="329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10" fill="hold"/>
                                        <p:tgtEl>
                                          <p:spTgt spid="329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"/>
                                        <p:tgtEl>
                                          <p:spTgt spid="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500" fill="hold"/>
                                        <p:tgtEl>
                                          <p:spTgt spid="330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" fill="hold"/>
                                        <p:tgtEl>
                                          <p:spTgt spid="330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30" fill="hold"/>
                                        <p:tgtEl>
                                          <p:spTgt spid="3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" fill="hold"/>
                                        <p:tgtEl>
                                          <p:spTgt spid="3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30"/>
                                        <p:tgtEl>
                                          <p:spTgt spid="3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500" fill="hold"/>
                                        <p:tgtEl>
                                          <p:spTgt spid="331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10" fill="hold"/>
                                        <p:tgtEl>
                                          <p:spTgt spid="331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3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30"/>
                                        <p:tgtEl>
                                          <p:spTgt spid="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332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10" fill="hold"/>
                                        <p:tgtEl>
                                          <p:spTgt spid="332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3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3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30"/>
                                        <p:tgtEl>
                                          <p:spTgt spid="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500" fill="hold"/>
                                        <p:tgtEl>
                                          <p:spTgt spid="333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10" fill="hold"/>
                                        <p:tgtEl>
                                          <p:spTgt spid="333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3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3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3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5" dur="500" fill="hold"/>
                                        <p:tgtEl>
                                          <p:spTgt spid="334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6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7" dur="10" fill="hold"/>
                                        <p:tgtEl>
                                          <p:spTgt spid="334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2" dur="500" fill="hold"/>
                                        <p:tgtEl>
                                          <p:spTgt spid="3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7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>
            <a:extLst>
              <a:ext uri="{FF2B5EF4-FFF2-40B4-BE49-F238E27FC236}">
                <a16:creationId xmlns:a16="http://schemas.microsoft.com/office/drawing/2014/main" id="{A273E396-5D0E-0550-B15A-3E7D27E19236}"/>
              </a:ext>
            </a:extLst>
          </p:cNvPr>
          <p:cNvSpPr txBox="1">
            <a:spLocks/>
          </p:cNvSpPr>
          <p:nvPr/>
        </p:nvSpPr>
        <p:spPr>
          <a:xfrm>
            <a:off x="266859" y="107255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Core Qualifications</a:t>
            </a:r>
          </a:p>
        </p:txBody>
      </p:sp>
      <p:sp>
        <p:nvSpPr>
          <p:cNvPr id="25" name="TextBox 27">
            <a:extLst>
              <a:ext uri="{FF2B5EF4-FFF2-40B4-BE49-F238E27FC236}">
                <a16:creationId xmlns:a16="http://schemas.microsoft.com/office/drawing/2014/main" id="{491B2B49-2223-1A6D-A98A-3D16D5257211}"/>
              </a:ext>
            </a:extLst>
          </p:cNvPr>
          <p:cNvSpPr txBox="1"/>
          <p:nvPr/>
        </p:nvSpPr>
        <p:spPr>
          <a:xfrm>
            <a:off x="-10517" y="2572685"/>
            <a:ext cx="1454189" cy="2523309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1097280" rIns="0" bIns="0" rtlCol="0" anchor="t">
            <a:noAutofit/>
          </a:bodyPr>
          <a:lstStyle/>
          <a:p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69" name="Picture Placeholder 17">
            <a:extLst>
              <a:ext uri="{FF2B5EF4-FFF2-40B4-BE49-F238E27FC236}">
                <a16:creationId xmlns:a16="http://schemas.microsoft.com/office/drawing/2014/main" id="{717D493B-1281-28D0-BD64-D7ACCECBC8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15152" y="2204864"/>
            <a:ext cx="1349696" cy="1349696"/>
          </a:xfrm>
          <a:prstGeom prst="ellipse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0F92DB94-2062-EFBA-EC2D-045B50EA8A64}"/>
              </a:ext>
            </a:extLst>
          </p:cNvPr>
          <p:cNvSpPr/>
          <p:nvPr/>
        </p:nvSpPr>
        <p:spPr>
          <a:xfrm>
            <a:off x="360251" y="692696"/>
            <a:ext cx="8860225" cy="5855053"/>
          </a:xfrm>
          <a:prstGeom prst="rect">
            <a:avLst/>
          </a:prstGeom>
          <a:noFill/>
          <a:ln>
            <a:solidFill>
              <a:schemeClr val="bg1">
                <a:lumMod val="75000"/>
                <a:alpha val="2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8" name="Title 8">
            <a:extLst>
              <a:ext uri="{FF2B5EF4-FFF2-40B4-BE49-F238E27FC236}">
                <a16:creationId xmlns:a16="http://schemas.microsoft.com/office/drawing/2014/main" id="{C3B7ACE6-CD73-2091-1B44-3BE3C30DFA96}"/>
              </a:ext>
            </a:extLst>
          </p:cNvPr>
          <p:cNvSpPr txBox="1">
            <a:spLocks/>
          </p:cNvSpPr>
          <p:nvPr/>
        </p:nvSpPr>
        <p:spPr>
          <a:xfrm>
            <a:off x="9723590" y="1412776"/>
            <a:ext cx="2411658" cy="852007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C660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rikanth Aakuthota</a:t>
            </a:r>
          </a:p>
          <a:p>
            <a:pPr algn="just">
              <a:lnSpc>
                <a:spcPct val="90000"/>
              </a:lnSpc>
              <a:spcAft>
                <a:spcPts val="599"/>
              </a:spcAft>
            </a:pPr>
            <a:r>
              <a:rPr lang="en-US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SHS TE DC IND DX POC</a:t>
            </a:r>
            <a:endParaRPr lang="en-US" altLang="zh-CN" sz="1400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90000"/>
              </a:lnSpc>
              <a:spcAft>
                <a:spcPts val="599"/>
              </a:spcAft>
            </a:pPr>
            <a:r>
              <a:rPr lang="en-US" altLang="zh-CN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R&amp;D Engineering</a:t>
            </a:r>
          </a:p>
          <a:p>
            <a:pPr algn="just">
              <a:lnSpc>
                <a:spcPct val="90000"/>
              </a:lnSpc>
              <a:spcAft>
                <a:spcPts val="599"/>
              </a:spcAft>
            </a:pPr>
            <a:endParaRPr lang="en-US" altLang="zh-CN" sz="1400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2EF692-528C-6CED-F990-58DD623C0828}"/>
              </a:ext>
            </a:extLst>
          </p:cNvPr>
          <p:cNvSpPr txBox="1"/>
          <p:nvPr/>
        </p:nvSpPr>
        <p:spPr>
          <a:xfrm>
            <a:off x="451813" y="1682342"/>
            <a:ext cx="9271777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•	Architectural Designs: MVVM | MVC | Microservices</a:t>
            </a:r>
          </a:p>
          <a:p>
            <a:r>
              <a:rPr lang="en-US" sz="1600" dirty="0"/>
              <a:t>•	Frameworks and Libraries: .NET Framework, .NET Core, Xamarin, Android, Angular,                                          WinForms, WPF, UWP, EF, EF Core ADO.NET</a:t>
            </a:r>
          </a:p>
          <a:p>
            <a:r>
              <a:rPr lang="en-US" sz="1600" dirty="0"/>
              <a:t>•	Programming Languages: C#, C++, LINQ</a:t>
            </a:r>
          </a:p>
          <a:p>
            <a:r>
              <a:rPr lang="en-US" sz="1600" dirty="0"/>
              <a:t>•	Scripting Languages &amp; Frameworks: JavaScript, jQuery, Angular , React, MEAN , MERN stack</a:t>
            </a:r>
          </a:p>
          <a:p>
            <a:r>
              <a:rPr lang="en-US" sz="1600" dirty="0"/>
              <a:t>•	Web Technologies: ASP.NET MVC, ASP .NET CORE, WEB API</a:t>
            </a:r>
          </a:p>
          <a:p>
            <a:r>
              <a:rPr lang="en-US" sz="1600" dirty="0"/>
              <a:t>•	Methodologies implemented in applications: Multi-Threading, Inter Process Communication, Synchronization of Threads and Processes using Semaphores, Mutex and SIGNALS, TCP/IP Communication (Server-Client Architecture), Serial Communication</a:t>
            </a:r>
          </a:p>
          <a:p>
            <a:r>
              <a:rPr lang="en-US" sz="1600" dirty="0"/>
              <a:t>•	Software Design: OOPS | OOAD | UML</a:t>
            </a:r>
          </a:p>
          <a:p>
            <a:r>
              <a:rPr lang="en-US" sz="1600" dirty="0"/>
              <a:t>•	Databases: MS SQL Server, SQLite</a:t>
            </a:r>
          </a:p>
          <a:p>
            <a:r>
              <a:rPr lang="en-US" sz="1600" dirty="0"/>
              <a:t>•	IDEs and Debuggers: Visual Studio, SQL Server Management Studio, Visual Studio Code</a:t>
            </a:r>
          </a:p>
          <a:p>
            <a:r>
              <a:rPr lang="en-US" sz="1600" dirty="0"/>
              <a:t>•	Operating Systems: Windows 10, Windows 7, IoT</a:t>
            </a:r>
          </a:p>
          <a:p>
            <a:r>
              <a:rPr lang="en-US" sz="1600" dirty="0"/>
              <a:t>•	Industrial Protocols: ASTM, HL7, POCTA1</a:t>
            </a:r>
          </a:p>
          <a:p>
            <a:r>
              <a:rPr lang="en-US" sz="1600" dirty="0"/>
              <a:t>•	Network and Application Protocols: FTP, SSH, HTTP/HTTPS, TCP/IP</a:t>
            </a:r>
          </a:p>
          <a:p>
            <a:r>
              <a:rPr lang="en-US" sz="1600" dirty="0"/>
              <a:t>•	Communication skills, Problem-solving, cross functional manage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35986A-D11E-872A-1770-07CF4BD3EEA9}"/>
              </a:ext>
            </a:extLst>
          </p:cNvPr>
          <p:cNvSpPr txBox="1"/>
          <p:nvPr/>
        </p:nvSpPr>
        <p:spPr>
          <a:xfrm>
            <a:off x="360250" y="1000764"/>
            <a:ext cx="88602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I am an accomplished Technical Team Lead with over 14 years of experience in leading high-performing development teams. </a:t>
            </a:r>
          </a:p>
        </p:txBody>
      </p:sp>
    </p:spTree>
    <p:extLst>
      <p:ext uri="{BB962C8B-B14F-4D97-AF65-F5344CB8AC3E}">
        <p14:creationId xmlns:p14="http://schemas.microsoft.com/office/powerpoint/2010/main" val="3647387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am5A5TYOHqD26TXiO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am5A5TYOHqD26TXiO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S_Template_16x9" id="{66805247-FAD3-48D1-97E7-A6BA71F56E46}" vid="{DBC90F7F-3E8E-4C62-B891-1360CFE45E14}"/>
    </a:ext>
  </a:extLst>
</a:theme>
</file>

<file path=ppt/theme/theme2.xml><?xml version="1.0" encoding="utf-8"?>
<a:theme xmlns:a="http://schemas.openxmlformats.org/drawingml/2006/main" name="1_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S_Template_16x9" id="{66805247-FAD3-48D1-97E7-A6BA71F56E46}" vid="{DBC90F7F-3E8E-4C62-B891-1360CFE45E14}"/>
    </a:ext>
  </a:extLst>
</a:theme>
</file>

<file path=ppt/theme/theme3.xml><?xml version="1.0" encoding="utf-8"?>
<a:theme xmlns:a="http://schemas.openxmlformats.org/drawingml/2006/main" name="2_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S_Template_16x9" id="{66805247-FAD3-48D1-97E7-A6BA71F56E46}" vid="{DBC90F7F-3E8E-4C62-B891-1360CFE45E14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40F5413FEE1849A93A7997CCF88ED3" ma:contentTypeVersion="17" ma:contentTypeDescription="Create a new document." ma:contentTypeScope="" ma:versionID="9a4c2a4942147af94c15ef5ba708f40b">
  <xsd:schema xmlns:xsd="http://www.w3.org/2001/XMLSchema" xmlns:xs="http://www.w3.org/2001/XMLSchema" xmlns:p="http://schemas.microsoft.com/office/2006/metadata/properties" xmlns:ns2="a8db9c71-8c3f-4966-a12d-48ff633a4033" xmlns:ns3="ab8e507e-d136-4f2d-b6c4-b0f9e06ddd9c" targetNamespace="http://schemas.microsoft.com/office/2006/metadata/properties" ma:root="true" ma:fieldsID="d3cb9bb8b50f607d02a5b305ff69c75a" ns2:_="" ns3:_="">
    <xsd:import namespace="a8db9c71-8c3f-4966-a12d-48ff633a4033"/>
    <xsd:import namespace="ab8e507e-d136-4f2d-b6c4-b0f9e06ddd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db9c71-8c3f-4966-a12d-48ff633a40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a3e8f82-da09-4279-aed2-eee19e49ff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8e507e-d136-4f2d-b6c4-b0f9e06ddd9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2cb8418-87b6-4a1b-8582-88fec985a1c7}" ma:internalName="TaxCatchAll" ma:showField="CatchAllData" ma:web="ab8e507e-d136-4f2d-b6c4-b0f9e06ddd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b8e507e-d136-4f2d-b6c4-b0f9e06ddd9c">
      <UserInfo>
        <DisplayName>Kuester, Alicia (she/her)</DisplayName>
        <AccountId>2367</AccountId>
        <AccountType/>
      </UserInfo>
    </SharedWithUsers>
    <lcf76f155ced4ddcb4097134ff3c332f xmlns="a8db9c71-8c3f-4966-a12d-48ff633a4033">
      <Terms xmlns="http://schemas.microsoft.com/office/infopath/2007/PartnerControls"/>
    </lcf76f155ced4ddcb4097134ff3c332f>
    <TaxCatchAll xmlns="ab8e507e-d136-4f2d-b6c4-b0f9e06ddd9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6B77F2-627B-4C7A-B8F9-9143E102DD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db9c71-8c3f-4966-a12d-48ff633a4033"/>
    <ds:schemaRef ds:uri="ab8e507e-d136-4f2d-b6c4-b0f9e06ddd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C6BFAA-3EF6-4E40-8042-895DF5E52B0B}">
  <ds:schemaRefs>
    <ds:schemaRef ds:uri="http://purl.org/dc/elements/1.1/"/>
    <ds:schemaRef ds:uri="http://schemas.microsoft.com/office/2006/metadata/properties"/>
    <ds:schemaRef ds:uri="ab8e507e-d136-4f2d-b6c4-b0f9e06ddd9c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a8db9c71-8c3f-4966-a12d-48ff633a403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A31F34D-5F3E-49F8-BE6D-9A4A7C8576B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0</TotalTime>
  <Words>693</Words>
  <Application>Microsoft Office PowerPoint</Application>
  <PresentationFormat>Custom</PresentationFormat>
  <Paragraphs>130</Paragraphs>
  <Slides>15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Bree-SH-Headline-Regular</vt:lpstr>
      <vt:lpstr>Bree-SH-Text</vt:lpstr>
      <vt:lpstr>Calibri</vt:lpstr>
      <vt:lpstr>Calibri Light</vt:lpstr>
      <vt:lpstr>Symbol</vt:lpstr>
      <vt:lpstr>Wingdings</vt:lpstr>
      <vt:lpstr>SH_PPT_template_16x9_V201808_Calibri</vt:lpstr>
      <vt:lpstr>1_SH_PPT_template_16x9_V201808_Calibri</vt:lpstr>
      <vt:lpstr>2_SH_PPT_template_16x9_V201808_Calibri</vt:lpstr>
      <vt:lpstr>Office</vt:lpstr>
      <vt:lpstr>think-cell Slide</vt:lpstr>
      <vt:lpstr>think-cell Folie</vt:lpstr>
      <vt:lpstr>PowerPoint Presentation</vt:lpstr>
      <vt:lpstr>PowerPoint Presentation</vt:lpstr>
      <vt:lpstr>PowerPoint Presentation</vt:lpstr>
      <vt:lpstr> </vt:lpstr>
      <vt:lpstr>Atellica 1500 on Automation Track </vt:lpstr>
      <vt:lpstr>Rack orientation </vt:lpstr>
      <vt:lpstr>PowerPoint Presentation</vt:lpstr>
      <vt:lpstr>Why the CLINITEK Status Connect Wi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posal2: AI Enabled Mega lab managemen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 on the combination of  Siemens Healthineers and Varian</dc:title>
  <dc:subject/>
  <dc:creator/>
  <cp:keywords>C_Restricted</cp:keywords>
  <dc:description/>
  <cp:lastModifiedBy/>
  <cp:revision>156</cp:revision>
  <dcterms:created xsi:type="dcterms:W3CDTF">2021-02-09T11:58:10Z</dcterms:created>
  <dcterms:modified xsi:type="dcterms:W3CDTF">2023-09-25T04:4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40F5413FEE1849A93A7997CCF88ED3</vt:lpwstr>
  </property>
  <property fmtid="{D5CDD505-2E9C-101B-9397-08002B2CF9AE}" pid="3" name="Document Confidentiality">
    <vt:lpwstr>Restricted</vt:lpwstr>
  </property>
  <property fmtid="{D5CDD505-2E9C-101B-9397-08002B2CF9AE}" pid="4" name="sodocoClasId">
    <vt:i4>1</vt:i4>
  </property>
  <property fmtid="{D5CDD505-2E9C-101B-9397-08002B2CF9AE}" pid="5" name="Document_Confidentiality">
    <vt:lpwstr>Restricted</vt:lpwstr>
  </property>
  <property fmtid="{D5CDD505-2E9C-101B-9397-08002B2CF9AE}" pid="6" name="sodocoClasLangId">
    <vt:i4>2</vt:i4>
  </property>
  <property fmtid="{D5CDD505-2E9C-101B-9397-08002B2CF9AE}" pid="7" name="sodocoClasLang">
    <vt:lpwstr>Intern</vt:lpwstr>
  </property>
  <property fmtid="{D5CDD505-2E9C-101B-9397-08002B2CF9AE}" pid="8" name="MSIP_Label_ff6dbec8-95a8-4638-9f5f-bd076536645c_Enabled">
    <vt:lpwstr>true</vt:lpwstr>
  </property>
  <property fmtid="{D5CDD505-2E9C-101B-9397-08002B2CF9AE}" pid="9" name="MSIP_Label_ff6dbec8-95a8-4638-9f5f-bd076536645c_SetDate">
    <vt:lpwstr>2021-08-23T08:00:45Z</vt:lpwstr>
  </property>
  <property fmtid="{D5CDD505-2E9C-101B-9397-08002B2CF9AE}" pid="10" name="MSIP_Label_ff6dbec8-95a8-4638-9f5f-bd076536645c_Method">
    <vt:lpwstr>Standard</vt:lpwstr>
  </property>
  <property fmtid="{D5CDD505-2E9C-101B-9397-08002B2CF9AE}" pid="11" name="MSIP_Label_ff6dbec8-95a8-4638-9f5f-bd076536645c_Name">
    <vt:lpwstr>Restricted - Default</vt:lpwstr>
  </property>
  <property fmtid="{D5CDD505-2E9C-101B-9397-08002B2CF9AE}" pid="12" name="MSIP_Label_ff6dbec8-95a8-4638-9f5f-bd076536645c_SiteId">
    <vt:lpwstr>5dbf1add-202a-4b8d-815b-bf0fb024e033</vt:lpwstr>
  </property>
  <property fmtid="{D5CDD505-2E9C-101B-9397-08002B2CF9AE}" pid="13" name="MSIP_Label_ff6dbec8-95a8-4638-9f5f-bd076536645c_ActionId">
    <vt:lpwstr>e3bb4e2a-031a-4f79-a092-7dcbf2f315be</vt:lpwstr>
  </property>
  <property fmtid="{D5CDD505-2E9C-101B-9397-08002B2CF9AE}" pid="14" name="MSIP_Label_ff6dbec8-95a8-4638-9f5f-bd076536645c_ContentBits">
    <vt:lpwstr>0</vt:lpwstr>
  </property>
  <property fmtid="{D5CDD505-2E9C-101B-9397-08002B2CF9AE}" pid="15" name="MediaServiceImageTags">
    <vt:lpwstr/>
  </property>
</Properties>
</file>